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257" r:id="rId6"/>
    <p:sldId id="278" r:id="rId7"/>
    <p:sldId id="286" r:id="rId8"/>
    <p:sldId id="287" r:id="rId9"/>
    <p:sldId id="295" r:id="rId10"/>
    <p:sldId id="292" r:id="rId11"/>
    <p:sldId id="289" r:id="rId12"/>
    <p:sldId id="288" r:id="rId13"/>
    <p:sldId id="296" r:id="rId14"/>
    <p:sldId id="291" r:id="rId15"/>
    <p:sldId id="297" r:id="rId16"/>
    <p:sldId id="294" r:id="rId17"/>
    <p:sldId id="298" r:id="rId18"/>
    <p:sldId id="27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898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558BBA-AA61-81C6-A502-2513CEA8EA33}" v="27" dt="2024-03-24T13:02:28.014"/>
    <p1510:client id="{6F4D59DD-0889-A4B0-4177-866A4A46060C}" v="236" dt="2024-03-24T13:46:55.653"/>
    <p1510:client id="{AFA718F2-B803-0B27-BBEE-89954348904B}" v="1" dt="2024-03-24T07:04:23.4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ed, Tousif" userId="S::tos039@g.harvard.edu::3f26e022-3f06-42a8-96db-9b0ef5830bf5" providerId="AD" clId="Web-{AFA718F2-B803-0B27-BBEE-89954348904B}"/>
    <pc:docChg chg="delSld">
      <pc:chgData name="Syed, Tousif" userId="S::tos039@g.harvard.edu::3f26e022-3f06-42a8-96db-9b0ef5830bf5" providerId="AD" clId="Web-{AFA718F2-B803-0B27-BBEE-89954348904B}" dt="2024-03-24T07:04:23.412" v="0"/>
      <pc:docMkLst>
        <pc:docMk/>
      </pc:docMkLst>
      <pc:sldChg chg="del">
        <pc:chgData name="Syed, Tousif" userId="S::tos039@g.harvard.edu::3f26e022-3f06-42a8-96db-9b0ef5830bf5" providerId="AD" clId="Web-{AFA718F2-B803-0B27-BBEE-89954348904B}" dt="2024-03-24T07:04:23.412" v="0"/>
        <pc:sldMkLst>
          <pc:docMk/>
          <pc:sldMk cId="334696707" sldId="280"/>
        </pc:sldMkLst>
      </pc:sldChg>
    </pc:docChg>
  </pc:docChgLst>
  <pc:docChgLst>
    <pc:chgData name="Berhanu, Bethlehem" userId="S::beb489@g.harvard.edu::be874d01-97d3-4d51-96dc-9eaaebbd6db1" providerId="AD" clId="Web-{6F4D59DD-0889-A4B0-4177-866A4A46060C}"/>
    <pc:docChg chg="modSld">
      <pc:chgData name="Berhanu, Bethlehem" userId="S::beb489@g.harvard.edu::be874d01-97d3-4d51-96dc-9eaaebbd6db1" providerId="AD" clId="Web-{6F4D59DD-0889-A4B0-4177-866A4A46060C}" dt="2024-03-24T13:46:55.653" v="177" actId="20577"/>
      <pc:docMkLst>
        <pc:docMk/>
      </pc:docMkLst>
      <pc:sldChg chg="modSp">
        <pc:chgData name="Berhanu, Bethlehem" userId="S::beb489@g.harvard.edu::be874d01-97d3-4d51-96dc-9eaaebbd6db1" providerId="AD" clId="Web-{6F4D59DD-0889-A4B0-4177-866A4A46060C}" dt="2024-03-24T13:46:55.653" v="177" actId="20577"/>
        <pc:sldMkLst>
          <pc:docMk/>
          <pc:sldMk cId="965691189" sldId="289"/>
        </pc:sldMkLst>
        <pc:spChg chg="mod">
          <ac:chgData name="Berhanu, Bethlehem" userId="S::beb489@g.harvard.edu::be874d01-97d3-4d51-96dc-9eaaebbd6db1" providerId="AD" clId="Web-{6F4D59DD-0889-A4B0-4177-866A4A46060C}" dt="2024-03-24T13:46:55.653" v="177" actId="20577"/>
          <ac:spMkLst>
            <pc:docMk/>
            <pc:sldMk cId="965691189" sldId="289"/>
            <ac:spMk id="10" creationId="{E9BDDA34-19E0-B666-A9A1-7AF62295E63A}"/>
          </ac:spMkLst>
        </pc:spChg>
      </pc:sldChg>
      <pc:sldChg chg="modSp">
        <pc:chgData name="Berhanu, Bethlehem" userId="S::beb489@g.harvard.edu::be874d01-97d3-4d51-96dc-9eaaebbd6db1" providerId="AD" clId="Web-{6F4D59DD-0889-A4B0-4177-866A4A46060C}" dt="2024-03-24T13:46:16.308" v="172" actId="20577"/>
        <pc:sldMkLst>
          <pc:docMk/>
          <pc:sldMk cId="1395845316" sldId="295"/>
        </pc:sldMkLst>
        <pc:spChg chg="mod">
          <ac:chgData name="Berhanu, Bethlehem" userId="S::beb489@g.harvard.edu::be874d01-97d3-4d51-96dc-9eaaebbd6db1" providerId="AD" clId="Web-{6F4D59DD-0889-A4B0-4177-866A4A46060C}" dt="2024-03-24T13:46:16.308" v="172" actId="20577"/>
          <ac:spMkLst>
            <pc:docMk/>
            <pc:sldMk cId="1395845316" sldId="295"/>
            <ac:spMk id="11" creationId="{911BF43A-FF8C-CF5F-001A-A3BE40AC09EA}"/>
          </ac:spMkLst>
        </pc:spChg>
      </pc:sldChg>
      <pc:sldChg chg="modSp">
        <pc:chgData name="Berhanu, Bethlehem" userId="S::beb489@g.harvard.edu::be874d01-97d3-4d51-96dc-9eaaebbd6db1" providerId="AD" clId="Web-{6F4D59DD-0889-A4B0-4177-866A4A46060C}" dt="2024-03-24T04:06:53.924" v="159" actId="20577"/>
        <pc:sldMkLst>
          <pc:docMk/>
          <pc:sldMk cId="2758059451" sldId="297"/>
        </pc:sldMkLst>
        <pc:spChg chg="mod">
          <ac:chgData name="Berhanu, Bethlehem" userId="S::beb489@g.harvard.edu::be874d01-97d3-4d51-96dc-9eaaebbd6db1" providerId="AD" clId="Web-{6F4D59DD-0889-A4B0-4177-866A4A46060C}" dt="2024-03-24T04:06:53.924" v="159" actId="20577"/>
          <ac:spMkLst>
            <pc:docMk/>
            <pc:sldMk cId="2758059451" sldId="297"/>
            <ac:spMk id="7" creationId="{5AC35B5B-06C9-6669-406F-42A7DB4E6074}"/>
          </ac:spMkLst>
        </pc:spChg>
      </pc:sldChg>
      <pc:sldChg chg="modSp">
        <pc:chgData name="Berhanu, Bethlehem" userId="S::beb489@g.harvard.edu::be874d01-97d3-4d51-96dc-9eaaebbd6db1" providerId="AD" clId="Web-{6F4D59DD-0889-A4B0-4177-866A4A46060C}" dt="2024-03-24T04:26:59.879" v="171" actId="20577"/>
        <pc:sldMkLst>
          <pc:docMk/>
          <pc:sldMk cId="2738773087" sldId="298"/>
        </pc:sldMkLst>
        <pc:spChg chg="mod">
          <ac:chgData name="Berhanu, Bethlehem" userId="S::beb489@g.harvard.edu::be874d01-97d3-4d51-96dc-9eaaebbd6db1" providerId="AD" clId="Web-{6F4D59DD-0889-A4B0-4177-866A4A46060C}" dt="2024-03-24T04:26:59.879" v="171" actId="20577"/>
          <ac:spMkLst>
            <pc:docMk/>
            <pc:sldMk cId="2738773087" sldId="298"/>
            <ac:spMk id="4" creationId="{BF877B7B-B83D-CB3F-A7C4-FE40C33610CD}"/>
          </ac:spMkLst>
        </pc:spChg>
      </pc:sldChg>
    </pc:docChg>
  </pc:docChgLst>
  <pc:docChgLst>
    <pc:chgData name="Bhowmik, Bethun" userId="S::beb102@g.harvard.edu::28870f53-92b5-4594-9515-298f597f9670" providerId="AD" clId="Web-{38558BBA-AA61-81C6-A502-2513CEA8EA33}"/>
    <pc:docChg chg="modSld">
      <pc:chgData name="Bhowmik, Bethun" userId="S::beb102@g.harvard.edu::28870f53-92b5-4594-9515-298f597f9670" providerId="AD" clId="Web-{38558BBA-AA61-81C6-A502-2513CEA8EA33}" dt="2024-03-24T13:02:28.014" v="26" actId="20577"/>
      <pc:docMkLst>
        <pc:docMk/>
      </pc:docMkLst>
      <pc:sldChg chg="modSp">
        <pc:chgData name="Bhowmik, Bethun" userId="S::beb102@g.harvard.edu::28870f53-92b5-4594-9515-298f597f9670" providerId="AD" clId="Web-{38558BBA-AA61-81C6-A502-2513CEA8EA33}" dt="2024-03-24T13:02:28.014" v="26" actId="20577"/>
        <pc:sldMkLst>
          <pc:docMk/>
          <pc:sldMk cId="2062631227" sldId="296"/>
        </pc:sldMkLst>
        <pc:spChg chg="mod">
          <ac:chgData name="Bhowmik, Bethun" userId="S::beb102@g.harvard.edu::28870f53-92b5-4594-9515-298f597f9670" providerId="AD" clId="Web-{38558BBA-AA61-81C6-A502-2513CEA8EA33}" dt="2024-03-24T13:02:28.014" v="26" actId="20577"/>
          <ac:spMkLst>
            <pc:docMk/>
            <pc:sldMk cId="2062631227" sldId="296"/>
            <ac:spMk id="7" creationId="{42713DE9-3B12-AA28-9750-34FDEB7364FC}"/>
          </ac:spMkLst>
        </pc:spChg>
      </pc:sldChg>
      <pc:sldChg chg="modSp">
        <pc:chgData name="Bhowmik, Bethun" userId="S::beb102@g.harvard.edu::28870f53-92b5-4594-9515-298f597f9670" providerId="AD" clId="Web-{38558BBA-AA61-81C6-A502-2513CEA8EA33}" dt="2024-03-24T12:58:47.079" v="2" actId="20577"/>
        <pc:sldMkLst>
          <pc:docMk/>
          <pc:sldMk cId="2758059451" sldId="297"/>
        </pc:sldMkLst>
        <pc:spChg chg="mod">
          <ac:chgData name="Bhowmik, Bethun" userId="S::beb102@g.harvard.edu::28870f53-92b5-4594-9515-298f597f9670" providerId="AD" clId="Web-{38558BBA-AA61-81C6-A502-2513CEA8EA33}" dt="2024-03-24T12:58:24.433" v="0" actId="20577"/>
          <ac:spMkLst>
            <pc:docMk/>
            <pc:sldMk cId="2758059451" sldId="297"/>
            <ac:spMk id="7" creationId="{5AC35B5B-06C9-6669-406F-42A7DB4E6074}"/>
          </ac:spMkLst>
        </pc:spChg>
        <pc:spChg chg="mod">
          <ac:chgData name="Bhowmik, Bethun" userId="S::beb102@g.harvard.edu::28870f53-92b5-4594-9515-298f597f9670" providerId="AD" clId="Web-{38558BBA-AA61-81C6-A502-2513CEA8EA33}" dt="2024-03-24T12:58:38.136" v="1" actId="20577"/>
          <ac:spMkLst>
            <pc:docMk/>
            <pc:sldMk cId="2758059451" sldId="297"/>
            <ac:spMk id="8" creationId="{FDDFCB70-371B-143B-3CA9-F59BD0CBBF40}"/>
          </ac:spMkLst>
        </pc:spChg>
        <pc:spChg chg="mod">
          <ac:chgData name="Bhowmik, Bethun" userId="S::beb102@g.harvard.edu::28870f53-92b5-4594-9515-298f597f9670" providerId="AD" clId="Web-{38558BBA-AA61-81C6-A502-2513CEA8EA33}" dt="2024-03-24T12:58:47.079" v="2" actId="20577"/>
          <ac:spMkLst>
            <pc:docMk/>
            <pc:sldMk cId="2758059451" sldId="297"/>
            <ac:spMk id="9" creationId="{BF196D27-2BDC-E5F8-F5F0-822D6EC47FBB}"/>
          </ac:spMkLst>
        </pc:spChg>
      </pc:sldChg>
    </pc:docChg>
  </pc:docChgLst>
  <pc:docChgLst>
    <pc:chgData name="Berhanu, Bethlehem" userId="S::beb489@g.harvard.edu::be874d01-97d3-4d51-96dc-9eaaebbd6db1" providerId="AD" clId="Web-{959675EE-1C1D-09B7-0B68-72F846D24136}"/>
    <pc:docChg chg="modSld sldOrd">
      <pc:chgData name="Berhanu, Bethlehem" userId="S::beb489@g.harvard.edu::be874d01-97d3-4d51-96dc-9eaaebbd6db1" providerId="AD" clId="Web-{959675EE-1C1D-09B7-0B68-72F846D24136}" dt="2024-03-22T06:11:38.091" v="319" actId="20577"/>
      <pc:docMkLst>
        <pc:docMk/>
      </pc:docMkLst>
      <pc:sldChg chg="modSp">
        <pc:chgData name="Berhanu, Bethlehem" userId="S::beb489@g.harvard.edu::be874d01-97d3-4d51-96dc-9eaaebbd6db1" providerId="AD" clId="Web-{959675EE-1C1D-09B7-0B68-72F846D24136}" dt="2024-03-22T05:29:46.006" v="24" actId="20577"/>
        <pc:sldMkLst>
          <pc:docMk/>
          <pc:sldMk cId="636929804" sldId="282"/>
        </pc:sldMkLst>
        <pc:spChg chg="mod">
          <ac:chgData name="Berhanu, Bethlehem" userId="S::beb489@g.harvard.edu::be874d01-97d3-4d51-96dc-9eaaebbd6db1" providerId="AD" clId="Web-{959675EE-1C1D-09B7-0B68-72F846D24136}" dt="2024-03-22T05:29:03.487" v="20" actId="20577"/>
          <ac:spMkLst>
            <pc:docMk/>
            <pc:sldMk cId="636929804" sldId="282"/>
            <ac:spMk id="3" creationId="{5B8D0DEB-5899-A208-FDB8-D154692F554F}"/>
          </ac:spMkLst>
        </pc:spChg>
        <pc:spChg chg="mod">
          <ac:chgData name="Berhanu, Bethlehem" userId="S::beb489@g.harvard.edu::be874d01-97d3-4d51-96dc-9eaaebbd6db1" providerId="AD" clId="Web-{959675EE-1C1D-09B7-0B68-72F846D24136}" dt="2024-03-22T05:29:19.910" v="22" actId="20577"/>
          <ac:spMkLst>
            <pc:docMk/>
            <pc:sldMk cId="636929804" sldId="282"/>
            <ac:spMk id="11" creationId="{911BF43A-FF8C-CF5F-001A-A3BE40AC09EA}"/>
          </ac:spMkLst>
        </pc:spChg>
        <pc:spChg chg="mod">
          <ac:chgData name="Berhanu, Bethlehem" userId="S::beb489@g.harvard.edu::be874d01-97d3-4d51-96dc-9eaaebbd6db1" providerId="AD" clId="Web-{959675EE-1C1D-09B7-0B68-72F846D24136}" dt="2024-03-22T05:29:46.006" v="24" actId="20577"/>
          <ac:spMkLst>
            <pc:docMk/>
            <pc:sldMk cId="636929804" sldId="282"/>
            <ac:spMk id="12" creationId="{97F4FD02-31BF-F34A-9277-F3C30749C143}"/>
          </ac:spMkLst>
        </pc:spChg>
      </pc:sldChg>
      <pc:sldChg chg="modSp">
        <pc:chgData name="Berhanu, Bethlehem" userId="S::beb489@g.harvard.edu::be874d01-97d3-4d51-96dc-9eaaebbd6db1" providerId="AD" clId="Web-{959675EE-1C1D-09B7-0B68-72F846D24136}" dt="2024-03-22T05:44:56.351" v="89" actId="20577"/>
        <pc:sldMkLst>
          <pc:docMk/>
          <pc:sldMk cId="1135819541" sldId="288"/>
        </pc:sldMkLst>
        <pc:spChg chg="mod">
          <ac:chgData name="Berhanu, Bethlehem" userId="S::beb489@g.harvard.edu::be874d01-97d3-4d51-96dc-9eaaebbd6db1" providerId="AD" clId="Web-{959675EE-1C1D-09B7-0B68-72F846D24136}" dt="2024-03-22T05:44:56.351" v="89" actId="20577"/>
          <ac:spMkLst>
            <pc:docMk/>
            <pc:sldMk cId="1135819541" sldId="288"/>
            <ac:spMk id="8" creationId="{7D593D3D-399D-F9FC-D285-C2A27932D322}"/>
          </ac:spMkLst>
        </pc:spChg>
        <pc:spChg chg="mod">
          <ac:chgData name="Berhanu, Bethlehem" userId="S::beb489@g.harvard.edu::be874d01-97d3-4d51-96dc-9eaaebbd6db1" providerId="AD" clId="Web-{959675EE-1C1D-09B7-0B68-72F846D24136}" dt="2024-03-22T05:34:48.949" v="33" actId="20577"/>
          <ac:spMkLst>
            <pc:docMk/>
            <pc:sldMk cId="1135819541" sldId="288"/>
            <ac:spMk id="9" creationId="{2BAE4136-72B9-5170-6CB7-C84B8D205083}"/>
          </ac:spMkLst>
        </pc:spChg>
        <pc:spChg chg="mod">
          <ac:chgData name="Berhanu, Bethlehem" userId="S::beb489@g.harvard.edu::be874d01-97d3-4d51-96dc-9eaaebbd6db1" providerId="AD" clId="Web-{959675EE-1C1D-09B7-0B68-72F846D24136}" dt="2024-03-22T05:34:57.918" v="35" actId="20577"/>
          <ac:spMkLst>
            <pc:docMk/>
            <pc:sldMk cId="1135819541" sldId="288"/>
            <ac:spMk id="10" creationId="{E9BDDA34-19E0-B666-A9A1-7AF62295E63A}"/>
          </ac:spMkLst>
        </pc:spChg>
      </pc:sldChg>
      <pc:sldChg chg="addSp delSp modSp ord">
        <pc:chgData name="Berhanu, Bethlehem" userId="S::beb489@g.harvard.edu::be874d01-97d3-4d51-96dc-9eaaebbd6db1" providerId="AD" clId="Web-{959675EE-1C1D-09B7-0B68-72F846D24136}" dt="2024-03-22T06:11:38.091" v="319" actId="20577"/>
        <pc:sldMkLst>
          <pc:docMk/>
          <pc:sldMk cId="965691189" sldId="289"/>
        </pc:sldMkLst>
        <pc:spChg chg="mod">
          <ac:chgData name="Berhanu, Bethlehem" userId="S::beb489@g.harvard.edu::be874d01-97d3-4d51-96dc-9eaaebbd6db1" providerId="AD" clId="Web-{959675EE-1C1D-09B7-0B68-72F846D24136}" dt="2024-03-22T05:32:00.625" v="28" actId="20577"/>
          <ac:spMkLst>
            <pc:docMk/>
            <pc:sldMk cId="965691189" sldId="289"/>
            <ac:spMk id="2" creationId="{8B27D9B3-B64F-656A-0D99-161A6C0F518F}"/>
          </ac:spMkLst>
        </pc:spChg>
        <pc:spChg chg="mod">
          <ac:chgData name="Berhanu, Bethlehem" userId="S::beb489@g.harvard.edu::be874d01-97d3-4d51-96dc-9eaaebbd6db1" providerId="AD" clId="Web-{959675EE-1C1D-09B7-0B68-72F846D24136}" dt="2024-03-22T06:04:55.842" v="277" actId="20577"/>
          <ac:spMkLst>
            <pc:docMk/>
            <pc:sldMk cId="965691189" sldId="289"/>
            <ac:spMk id="7" creationId="{42713DE9-3B12-AA28-9750-34FDEB7364FC}"/>
          </ac:spMkLst>
        </pc:spChg>
        <pc:spChg chg="mod">
          <ac:chgData name="Berhanu, Bethlehem" userId="S::beb489@g.harvard.edu::be874d01-97d3-4d51-96dc-9eaaebbd6db1" providerId="AD" clId="Web-{959675EE-1C1D-09B7-0B68-72F846D24136}" dt="2024-03-22T06:08:32.998" v="279" actId="20577"/>
          <ac:spMkLst>
            <pc:docMk/>
            <pc:sldMk cId="965691189" sldId="289"/>
            <ac:spMk id="8" creationId="{7D593D3D-399D-F9FC-D285-C2A27932D322}"/>
          </ac:spMkLst>
        </pc:spChg>
        <pc:spChg chg="mod">
          <ac:chgData name="Berhanu, Bethlehem" userId="S::beb489@g.harvard.edu::be874d01-97d3-4d51-96dc-9eaaebbd6db1" providerId="AD" clId="Web-{959675EE-1C1D-09B7-0B68-72F846D24136}" dt="2024-03-22T06:11:38.091" v="319" actId="20577"/>
          <ac:spMkLst>
            <pc:docMk/>
            <pc:sldMk cId="965691189" sldId="289"/>
            <ac:spMk id="9" creationId="{2BAE4136-72B9-5170-6CB7-C84B8D205083}"/>
          </ac:spMkLst>
        </pc:spChg>
        <pc:spChg chg="mod">
          <ac:chgData name="Berhanu, Bethlehem" userId="S::beb489@g.harvard.edu::be874d01-97d3-4d51-96dc-9eaaebbd6db1" providerId="AD" clId="Web-{959675EE-1C1D-09B7-0B68-72F846D24136}" dt="2024-03-22T05:56:35.885" v="190" actId="1076"/>
          <ac:spMkLst>
            <pc:docMk/>
            <pc:sldMk cId="965691189" sldId="289"/>
            <ac:spMk id="10" creationId="{E9BDDA34-19E0-B666-A9A1-7AF62295E63A}"/>
          </ac:spMkLst>
        </pc:spChg>
        <pc:picChg chg="add mod ord modCrop">
          <ac:chgData name="Berhanu, Bethlehem" userId="S::beb489@g.harvard.edu::be874d01-97d3-4d51-96dc-9eaaebbd6db1" providerId="AD" clId="Web-{959675EE-1C1D-09B7-0B68-72F846D24136}" dt="2024-03-22T05:43:02.624" v="69"/>
          <ac:picMkLst>
            <pc:docMk/>
            <pc:sldMk cId="965691189" sldId="289"/>
            <ac:picMk id="3" creationId="{A63504CF-96B0-BD1C-1843-13F82C9ACA72}"/>
          </ac:picMkLst>
        </pc:picChg>
        <pc:picChg chg="del">
          <ac:chgData name="Berhanu, Bethlehem" userId="S::beb489@g.harvard.edu::be874d01-97d3-4d51-96dc-9eaaebbd6db1" providerId="AD" clId="Web-{959675EE-1C1D-09B7-0B68-72F846D24136}" dt="2024-03-22T05:43:04.874" v="70"/>
          <ac:picMkLst>
            <pc:docMk/>
            <pc:sldMk cId="965691189" sldId="289"/>
            <ac:picMk id="4098" creationId="{7897E8D6-38B5-E8E4-6FCF-F3076A50FB2E}"/>
          </ac:picMkLst>
        </pc:picChg>
      </pc:sldChg>
      <pc:sldChg chg="modSp">
        <pc:chgData name="Berhanu, Bethlehem" userId="S::beb489@g.harvard.edu::be874d01-97d3-4d51-96dc-9eaaebbd6db1" providerId="AD" clId="Web-{959675EE-1C1D-09B7-0B68-72F846D24136}" dt="2024-03-22T05:58:04.828" v="192" actId="20577"/>
        <pc:sldMkLst>
          <pc:docMk/>
          <pc:sldMk cId="2031227580" sldId="290"/>
        </pc:sldMkLst>
        <pc:spChg chg="mod">
          <ac:chgData name="Berhanu, Bethlehem" userId="S::beb489@g.harvard.edu::be874d01-97d3-4d51-96dc-9eaaebbd6db1" providerId="AD" clId="Web-{959675EE-1C1D-09B7-0B68-72F846D24136}" dt="2024-03-22T05:58:04.828" v="192" actId="20577"/>
          <ac:spMkLst>
            <pc:docMk/>
            <pc:sldMk cId="2031227580" sldId="290"/>
            <ac:spMk id="2" creationId="{8B27D9B3-B64F-656A-0D99-161A6C0F518F}"/>
          </ac:spMkLst>
        </pc:spChg>
      </pc:sldChg>
    </pc:docChg>
  </pc:docChgLst>
  <pc:docChgLst>
    <pc:chgData name="Berhanu, Bethlehem" userId="S::beb489@g.harvard.edu::be874d01-97d3-4d51-96dc-9eaaebbd6db1" providerId="AD" clId="Web-{4E3F838C-D3E1-52F2-95F4-C0FFEB49D1C1}"/>
    <pc:docChg chg="modSld">
      <pc:chgData name="Berhanu, Bethlehem" userId="S::beb489@g.harvard.edu::be874d01-97d3-4d51-96dc-9eaaebbd6db1" providerId="AD" clId="Web-{4E3F838C-D3E1-52F2-95F4-C0FFEB49D1C1}" dt="2024-03-22T13:15:08.136" v="5" actId="20577"/>
      <pc:docMkLst>
        <pc:docMk/>
      </pc:docMkLst>
      <pc:sldChg chg="modSp">
        <pc:chgData name="Berhanu, Bethlehem" userId="S::beb489@g.harvard.edu::be874d01-97d3-4d51-96dc-9eaaebbd6db1" providerId="AD" clId="Web-{4E3F838C-D3E1-52F2-95F4-C0FFEB49D1C1}" dt="2024-03-22T13:15:08.136" v="5" actId="20577"/>
        <pc:sldMkLst>
          <pc:docMk/>
          <pc:sldMk cId="1071988237" sldId="286"/>
        </pc:sldMkLst>
        <pc:spChg chg="mod">
          <ac:chgData name="Berhanu, Bethlehem" userId="S::beb489@g.harvard.edu::be874d01-97d3-4d51-96dc-9eaaebbd6db1" providerId="AD" clId="Web-{4E3F838C-D3E1-52F2-95F4-C0FFEB49D1C1}" dt="2024-03-22T13:15:08.136" v="5" actId="20577"/>
          <ac:spMkLst>
            <pc:docMk/>
            <pc:sldMk cId="1071988237" sldId="286"/>
            <ac:spMk id="18" creationId="{D524B7ED-B998-199D-FFBD-111F96CEBE68}"/>
          </ac:spMkLst>
        </pc:spChg>
      </pc:sldChg>
      <pc:sldChg chg="modSp">
        <pc:chgData name="Berhanu, Bethlehem" userId="S::beb489@g.harvard.edu::be874d01-97d3-4d51-96dc-9eaaebbd6db1" providerId="AD" clId="Web-{4E3F838C-D3E1-52F2-95F4-C0FFEB49D1C1}" dt="2024-03-22T13:12:04.314" v="0" actId="1076"/>
        <pc:sldMkLst>
          <pc:docMk/>
          <pc:sldMk cId="1395845316" sldId="295"/>
        </pc:sldMkLst>
        <pc:spChg chg="mod">
          <ac:chgData name="Berhanu, Bethlehem" userId="S::beb489@g.harvard.edu::be874d01-97d3-4d51-96dc-9eaaebbd6db1" providerId="AD" clId="Web-{4E3F838C-D3E1-52F2-95F4-C0FFEB49D1C1}" dt="2024-03-22T13:12:04.314" v="0" actId="1076"/>
          <ac:spMkLst>
            <pc:docMk/>
            <pc:sldMk cId="1395845316" sldId="295"/>
            <ac:spMk id="3" creationId="{5B8D0DEB-5899-A208-FDB8-D154692F554F}"/>
          </ac:spMkLst>
        </pc:spChg>
      </pc:sldChg>
      <pc:sldChg chg="modSp">
        <pc:chgData name="Berhanu, Bethlehem" userId="S::beb489@g.harvard.edu::be874d01-97d3-4d51-96dc-9eaaebbd6db1" providerId="AD" clId="Web-{4E3F838C-D3E1-52F2-95F4-C0FFEB49D1C1}" dt="2024-03-22T13:12:41.597" v="2" actId="20577"/>
        <pc:sldMkLst>
          <pc:docMk/>
          <pc:sldMk cId="2758059451" sldId="297"/>
        </pc:sldMkLst>
        <pc:spChg chg="mod">
          <ac:chgData name="Berhanu, Bethlehem" userId="S::beb489@g.harvard.edu::be874d01-97d3-4d51-96dc-9eaaebbd6db1" providerId="AD" clId="Web-{4E3F838C-D3E1-52F2-95F4-C0FFEB49D1C1}" dt="2024-03-22T13:12:41.597" v="2" actId="20577"/>
          <ac:spMkLst>
            <pc:docMk/>
            <pc:sldMk cId="2758059451" sldId="297"/>
            <ac:spMk id="7" creationId="{5AC35B5B-06C9-6669-406F-42A7DB4E6074}"/>
          </ac:spMkLst>
        </pc:spChg>
      </pc:sldChg>
    </pc:docChg>
  </pc:docChgLst>
  <pc:docChgLst>
    <pc:chgData name="Syed, Tousif" userId="S::tos039@g.harvard.edu::3f26e022-3f06-42a8-96db-9b0ef5830bf5" providerId="AD" clId="Web-{88E3D07B-7D9B-8B15-DD5F-75E78D6C3AEA}"/>
    <pc:docChg chg="addSld delSld modSld">
      <pc:chgData name="Syed, Tousif" userId="S::tos039@g.harvard.edu::3f26e022-3f06-42a8-96db-9b0ef5830bf5" providerId="AD" clId="Web-{88E3D07B-7D9B-8B15-DD5F-75E78D6C3AEA}" dt="2024-03-22T13:14:35.465" v="25" actId="20577"/>
      <pc:docMkLst>
        <pc:docMk/>
      </pc:docMkLst>
      <pc:sldChg chg="addSp delSp modSp del">
        <pc:chgData name="Syed, Tousif" userId="S::tos039@g.harvard.edu::3f26e022-3f06-42a8-96db-9b0ef5830bf5" providerId="AD" clId="Web-{88E3D07B-7D9B-8B15-DD5F-75E78D6C3AEA}" dt="2024-03-22T13:08:17.143" v="5"/>
        <pc:sldMkLst>
          <pc:docMk/>
          <pc:sldMk cId="636929804" sldId="282"/>
        </pc:sldMkLst>
        <pc:spChg chg="del mod">
          <ac:chgData name="Syed, Tousif" userId="S::tos039@g.harvard.edu::3f26e022-3f06-42a8-96db-9b0ef5830bf5" providerId="AD" clId="Web-{88E3D07B-7D9B-8B15-DD5F-75E78D6C3AEA}" dt="2024-03-22T13:08:02.861" v="1"/>
          <ac:spMkLst>
            <pc:docMk/>
            <pc:sldMk cId="636929804" sldId="282"/>
            <ac:spMk id="3" creationId="{5B8D0DEB-5899-A208-FDB8-D154692F554F}"/>
          </ac:spMkLst>
        </pc:spChg>
        <pc:picChg chg="add del mod">
          <ac:chgData name="Syed, Tousif" userId="S::tos039@g.harvard.edu::3f26e022-3f06-42a8-96db-9b0ef5830bf5" providerId="AD" clId="Web-{88E3D07B-7D9B-8B15-DD5F-75E78D6C3AEA}" dt="2024-03-22T13:08:05.080" v="3"/>
          <ac:picMkLst>
            <pc:docMk/>
            <pc:sldMk cId="636929804" sldId="282"/>
            <ac:picMk id="5" creationId="{4BC0AFEB-49A0-17C6-9963-4A9D5CB7FB91}"/>
          </ac:picMkLst>
        </pc:picChg>
      </pc:sldChg>
      <pc:sldChg chg="del">
        <pc:chgData name="Syed, Tousif" userId="S::tos039@g.harvard.edu::3f26e022-3f06-42a8-96db-9b0ef5830bf5" providerId="AD" clId="Web-{88E3D07B-7D9B-8B15-DD5F-75E78D6C3AEA}" dt="2024-03-22T13:10:09.067" v="11"/>
        <pc:sldMkLst>
          <pc:docMk/>
          <pc:sldMk cId="2791821786" sldId="285"/>
        </pc:sldMkLst>
      </pc:sldChg>
      <pc:sldChg chg="modSp">
        <pc:chgData name="Syed, Tousif" userId="S::tos039@g.harvard.edu::3f26e022-3f06-42a8-96db-9b0ef5830bf5" providerId="AD" clId="Web-{88E3D07B-7D9B-8B15-DD5F-75E78D6C3AEA}" dt="2024-03-22T13:14:35.465" v="25" actId="20577"/>
        <pc:sldMkLst>
          <pc:docMk/>
          <pc:sldMk cId="1071988237" sldId="286"/>
        </pc:sldMkLst>
        <pc:spChg chg="mod">
          <ac:chgData name="Syed, Tousif" userId="S::tos039@g.harvard.edu::3f26e022-3f06-42a8-96db-9b0ef5830bf5" providerId="AD" clId="Web-{88E3D07B-7D9B-8B15-DD5F-75E78D6C3AEA}" dt="2024-03-22T13:14:35.465" v="25" actId="20577"/>
          <ac:spMkLst>
            <pc:docMk/>
            <pc:sldMk cId="1071988237" sldId="286"/>
            <ac:spMk id="18" creationId="{D524B7ED-B998-199D-FFBD-111F96CEBE68}"/>
          </ac:spMkLst>
        </pc:spChg>
      </pc:sldChg>
      <pc:sldChg chg="del">
        <pc:chgData name="Syed, Tousif" userId="S::tos039@g.harvard.edu::3f26e022-3f06-42a8-96db-9b0ef5830bf5" providerId="AD" clId="Web-{88E3D07B-7D9B-8B15-DD5F-75E78D6C3AEA}" dt="2024-03-22T13:08:43.034" v="7"/>
        <pc:sldMkLst>
          <pc:docMk/>
          <pc:sldMk cId="2031227580" sldId="290"/>
        </pc:sldMkLst>
      </pc:sldChg>
      <pc:sldChg chg="del">
        <pc:chgData name="Syed, Tousif" userId="S::tos039@g.harvard.edu::3f26e022-3f06-42a8-96db-9b0ef5830bf5" providerId="AD" clId="Web-{88E3D07B-7D9B-8B15-DD5F-75E78D6C3AEA}" dt="2024-03-22T13:09:45.161" v="9"/>
        <pc:sldMkLst>
          <pc:docMk/>
          <pc:sldMk cId="2449720780" sldId="293"/>
        </pc:sldMkLst>
      </pc:sldChg>
      <pc:sldChg chg="add">
        <pc:chgData name="Syed, Tousif" userId="S::tos039@g.harvard.edu::3f26e022-3f06-42a8-96db-9b0ef5830bf5" providerId="AD" clId="Web-{88E3D07B-7D9B-8B15-DD5F-75E78D6C3AEA}" dt="2024-03-22T13:08:14.064" v="4"/>
        <pc:sldMkLst>
          <pc:docMk/>
          <pc:sldMk cId="1395845316" sldId="295"/>
        </pc:sldMkLst>
      </pc:sldChg>
      <pc:sldChg chg="add">
        <pc:chgData name="Syed, Tousif" userId="S::tos039@g.harvard.edu::3f26e022-3f06-42a8-96db-9b0ef5830bf5" providerId="AD" clId="Web-{88E3D07B-7D9B-8B15-DD5F-75E78D6C3AEA}" dt="2024-03-22T13:08:37.471" v="6"/>
        <pc:sldMkLst>
          <pc:docMk/>
          <pc:sldMk cId="2062631227" sldId="296"/>
        </pc:sldMkLst>
      </pc:sldChg>
      <pc:sldChg chg="add">
        <pc:chgData name="Syed, Tousif" userId="S::tos039@g.harvard.edu::3f26e022-3f06-42a8-96db-9b0ef5830bf5" providerId="AD" clId="Web-{88E3D07B-7D9B-8B15-DD5F-75E78D6C3AEA}" dt="2024-03-22T13:09:02.269" v="8"/>
        <pc:sldMkLst>
          <pc:docMk/>
          <pc:sldMk cId="2758059451" sldId="297"/>
        </pc:sldMkLst>
      </pc:sldChg>
      <pc:sldChg chg="add">
        <pc:chgData name="Syed, Tousif" userId="S::tos039@g.harvard.edu::3f26e022-3f06-42a8-96db-9b0ef5830bf5" providerId="AD" clId="Web-{88E3D07B-7D9B-8B15-DD5F-75E78D6C3AEA}" dt="2024-03-22T13:10:05.942" v="10"/>
        <pc:sldMkLst>
          <pc:docMk/>
          <pc:sldMk cId="2738773087" sldId="29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7F456E-01A6-4013-ACA5-F5492591A24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4983A3-9B9B-4D61-97C9-B9E239A315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6F32FC-4BD9-442A-A8C6-51598C909FE3}" type="datetimeFigureOut">
              <a:rPr lang="en-US" smtClean="0"/>
              <a:t>3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ABE74-7A97-4D17-8390-42ADD25C33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2C1DBD-1052-425E-BF3C-983304BED5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EEFA9E-C190-4F5C-8394-BD5F1CD55C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801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6371FA-A98D-41E8-93F4-09945841298A}" type="datetimeFigureOut">
              <a:rPr lang="en-US" smtClean="0"/>
              <a:t>3/2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289C57-55D7-40A4-A101-E74FAC7A09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902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1288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3261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052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6058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224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7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683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438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522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880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0577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593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446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169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648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41918" y="3329790"/>
            <a:ext cx="4941771" cy="3200400"/>
          </a:xfrm>
        </p:spPr>
        <p:txBody>
          <a:bodyPr anchor="ctr">
            <a:noAutofit/>
          </a:bodyPr>
          <a:lstStyle>
            <a:lvl1pPr algn="l">
              <a:defRPr sz="3600" spc="150" baseline="0"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4F1E16-9A84-4D0E-9706-79C396AF6A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58" t="23650" b="-1"/>
          <a:stretch/>
        </p:blipFill>
        <p:spPr>
          <a:xfrm>
            <a:off x="0" y="0"/>
            <a:ext cx="9488312" cy="505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826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895350"/>
            <a:ext cx="3247662" cy="1917700"/>
          </a:xfrm>
        </p:spPr>
        <p:txBody>
          <a:bodyPr>
            <a:normAutofit/>
          </a:bodyPr>
          <a:lstStyle>
            <a:lvl1pPr algn="l">
              <a:defRPr lang="en-US" sz="24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14C3057-3BCC-F9A2-98D8-17DDB36F182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38200" y="2813049"/>
            <a:ext cx="3247662" cy="3238499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5214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216396" y="895927"/>
            <a:ext cx="7137404" cy="5115889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F91997C-538B-C8B9-14D7-31A1932F6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15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F777EF4-982E-9337-7E82-31DC723C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34303BA-AFB6-0E22-486F-785994E3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327564" cy="1505528"/>
            <a:chOff x="0" y="0"/>
            <a:chExt cx="2238376" cy="310515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66E3A08-02EB-7B54-5089-E7A7F19FD72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1238250" cy="310515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14F9BE5-00B2-ADDF-771C-AB098B36C82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2238376" cy="24765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081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37192"/>
            <a:ext cx="5655197" cy="1997867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200" y="2705177"/>
            <a:ext cx="5733772" cy="448990"/>
          </a:xfrm>
        </p:spPr>
        <p:txBody>
          <a:bodyPr anchor="ctr">
            <a:no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9B20CF-6B91-4562-B799-0ABDAEBC0D2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199" y="3154166"/>
            <a:ext cx="5733773" cy="303273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1pPr>
            <a:lvl2pPr marL="7429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2pPr>
            <a:lvl3pPr marL="12001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3pPr>
            <a:lvl4pPr marL="16573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4pPr>
            <a:lvl5pPr marL="21145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887108" y="2705177"/>
            <a:ext cx="3943627" cy="44898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120DFF5-B64A-9744-4500-1D7BBA19BF1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887107" y="3164867"/>
            <a:ext cx="3943627" cy="3032733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5214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3986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0588715-35AD-8BE1-A5FC-E28BDD3854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645" t="319" r="28732" b="73496"/>
          <a:stretch/>
        </p:blipFill>
        <p:spPr>
          <a:xfrm rot="10800000" flipH="1">
            <a:off x="6308436" y="-11"/>
            <a:ext cx="5883564" cy="236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51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44E9C70-0200-3C21-7766-CB9EA5FBFA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590800" cy="1027906"/>
            <a:chOff x="0" y="0"/>
            <a:chExt cx="2590800" cy="102790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D5E4B16-2071-DEE9-BE53-F35AFBEFCA5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0" y="0"/>
              <a:ext cx="259080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CB2B071-0355-D550-18A8-9D515CA1698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704850" cy="102790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53550"/>
            <a:ext cx="10515600" cy="1325563"/>
          </a:xfrm>
        </p:spPr>
        <p:txBody>
          <a:bodyPr anchor="b"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38200" y="2111381"/>
            <a:ext cx="10515600" cy="3570963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FB554B2-4C33-2975-9F27-94B8AE71D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03C6776-E983-2BA3-1054-75996FE0F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680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67200" y="1615736"/>
            <a:ext cx="4179570" cy="1524735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67200" y="3238103"/>
            <a:ext cx="4179570" cy="285018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800" spc="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D3361C9-310A-4255-A94E-B77588962D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176938" cy="6858000"/>
          </a:xfrm>
          <a:prstGeom prst="rect">
            <a:avLst/>
          </a:prstGeom>
        </p:spPr>
      </p:pic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6026D44C-0B39-4DE1-A0FC-5615DDAAE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67200" y="6356350"/>
            <a:ext cx="417957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0F8222B4-B618-42C4-8BDB-D2E4DF2F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140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514C6BF-376E-43E8-881D-2E7674269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301" r="28341" b="23071"/>
          <a:stretch/>
        </p:blipFill>
        <p:spPr>
          <a:xfrm>
            <a:off x="4229100" y="0"/>
            <a:ext cx="79629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0A9B92-C2D0-466A-A680-A35832C45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500" y="1020445"/>
            <a:ext cx="2895600" cy="1325563"/>
          </a:xfrm>
        </p:spPr>
        <p:txBody>
          <a:bodyPr anchor="b">
            <a:normAutofit/>
          </a:bodyPr>
          <a:lstStyle>
            <a:lvl1pPr>
              <a:defRPr sz="28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41CE6-5A88-4C5C-B2A4-6A5D2153B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3500" y="2674013"/>
            <a:ext cx="2895600" cy="3269589"/>
          </a:xfr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7F11D-8AF8-44D6-A48B-D8C7779B8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C0879-6B0F-4AF6-A997-EC61DA896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124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487018"/>
            <a:ext cx="4179570" cy="3377354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A96E214-6A61-C8A7-B1DB-C8C260C134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6557818" cy="6858000"/>
            <a:chOff x="0" y="0"/>
            <a:chExt cx="4762501" cy="51863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18BC1BC-99D6-D9F4-19F9-AAE722E2AE61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0" y="876300"/>
              <a:ext cx="4762500" cy="16287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816F797-248B-2C75-29B9-DB65A809D47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2638425" y="0"/>
              <a:ext cx="2124076" cy="51863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2501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487680"/>
            <a:ext cx="4179570" cy="3376691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D8E94DD-0F7B-3F92-58EA-5F06D557B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990667" y="0"/>
            <a:ext cx="1126278" cy="25122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9F5397-34DB-BC88-ADF5-AA470A06FE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5080"/>
            <a:ext cx="6576291" cy="6872605"/>
          </a:xfrm>
          <a:custGeom>
            <a:avLst/>
            <a:gdLst>
              <a:gd name="connsiteX0" fmla="*/ 0 w 6576291"/>
              <a:gd name="connsiteY0" fmla="*/ 0 h 6867525"/>
              <a:gd name="connsiteX1" fmla="*/ 6576291 w 6576291"/>
              <a:gd name="connsiteY1" fmla="*/ 0 h 6867525"/>
              <a:gd name="connsiteX2" fmla="*/ 6576291 w 6576291"/>
              <a:gd name="connsiteY2" fmla="*/ 6867525 h 6867525"/>
              <a:gd name="connsiteX3" fmla="*/ 0 w 6576291"/>
              <a:gd name="connsiteY3" fmla="*/ 6867525 h 6867525"/>
              <a:gd name="connsiteX4" fmla="*/ 0 w 6576291"/>
              <a:gd name="connsiteY4" fmla="*/ 0 h 6867525"/>
              <a:gd name="connsiteX0" fmla="*/ 0 w 6576291"/>
              <a:gd name="connsiteY0" fmla="*/ 5080 h 6872605"/>
              <a:gd name="connsiteX1" fmla="*/ 3604491 w 6576291"/>
              <a:gd name="connsiteY1" fmla="*/ 0 h 6872605"/>
              <a:gd name="connsiteX2" fmla="*/ 6576291 w 6576291"/>
              <a:gd name="connsiteY2" fmla="*/ 6872605 h 6872605"/>
              <a:gd name="connsiteX3" fmla="*/ 0 w 6576291"/>
              <a:gd name="connsiteY3" fmla="*/ 6872605 h 6872605"/>
              <a:gd name="connsiteX4" fmla="*/ 0 w 6576291"/>
              <a:gd name="connsiteY4" fmla="*/ 5080 h 6872605"/>
              <a:gd name="connsiteX0" fmla="*/ 0 w 6576291"/>
              <a:gd name="connsiteY0" fmla="*/ 0 h 6867525"/>
              <a:gd name="connsiteX1" fmla="*/ 3624811 w 6576291"/>
              <a:gd name="connsiteY1" fmla="*/ 10160 h 6867525"/>
              <a:gd name="connsiteX2" fmla="*/ 6576291 w 6576291"/>
              <a:gd name="connsiteY2" fmla="*/ 6867525 h 6867525"/>
              <a:gd name="connsiteX3" fmla="*/ 0 w 6576291"/>
              <a:gd name="connsiteY3" fmla="*/ 6867525 h 6867525"/>
              <a:gd name="connsiteX4" fmla="*/ 0 w 6576291"/>
              <a:gd name="connsiteY4" fmla="*/ 0 h 6867525"/>
              <a:gd name="connsiteX0" fmla="*/ 0 w 6576291"/>
              <a:gd name="connsiteY0" fmla="*/ 5080 h 6872605"/>
              <a:gd name="connsiteX1" fmla="*/ 3629891 w 6576291"/>
              <a:gd name="connsiteY1" fmla="*/ 0 h 6872605"/>
              <a:gd name="connsiteX2" fmla="*/ 6576291 w 6576291"/>
              <a:gd name="connsiteY2" fmla="*/ 6872605 h 6872605"/>
              <a:gd name="connsiteX3" fmla="*/ 0 w 6576291"/>
              <a:gd name="connsiteY3" fmla="*/ 6872605 h 6872605"/>
              <a:gd name="connsiteX4" fmla="*/ 0 w 6576291"/>
              <a:gd name="connsiteY4" fmla="*/ 5080 h 687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76291" h="6872605">
                <a:moveTo>
                  <a:pt x="0" y="5080"/>
                </a:moveTo>
                <a:lnTo>
                  <a:pt x="3629891" y="0"/>
                </a:lnTo>
                <a:lnTo>
                  <a:pt x="6576291" y="6872605"/>
                </a:lnTo>
                <a:lnTo>
                  <a:pt x="0" y="6872605"/>
                </a:lnTo>
                <a:lnTo>
                  <a:pt x="0" y="5080"/>
                </a:lnTo>
                <a:close/>
              </a:path>
            </a:pathLst>
          </a:custGeom>
        </p:spPr>
        <p:txBody>
          <a:bodyPr lIns="182880" tIns="182880" bIns="9144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018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2318" y="268360"/>
            <a:ext cx="7288282" cy="2121177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AC9D25F-5B3D-F5B2-5D02-C6BC6AA8987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322388" y="2763078"/>
            <a:ext cx="7288212" cy="34070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8E16CF1-2502-F2F0-2C27-2DD79790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9096374" y="-25401"/>
            <a:ext cx="3095625" cy="6883401"/>
            <a:chOff x="9096375" y="-25401"/>
            <a:chExt cx="3095625" cy="6883401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322A6FB-333C-65AE-23D8-08BCEA174D43}"/>
                </a:ext>
              </a:extLst>
            </p:cNvPr>
            <p:cNvCxnSpPr/>
            <p:nvPr userDrawn="1"/>
          </p:nvCxnSpPr>
          <p:spPr>
            <a:xfrm>
              <a:off x="9096375" y="1497012"/>
              <a:ext cx="309562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62BB247-4598-A983-DEBF-6F042C1DB0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381744" y="-25401"/>
              <a:ext cx="2810256" cy="68834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4E84FEE-D475-A71D-7996-5925602ECF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10800000" flipH="1">
            <a:off x="-1" y="-25403"/>
            <a:ext cx="1210573" cy="204816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459776D-4049-CB00-C321-0627C169B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DE114AF-34C6-A062-7340-858BC27DA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735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406400"/>
            <a:ext cx="4179570" cy="3457971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045004-3604-59DC-13E0-7A0B2DF78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28675"/>
            <a:ext cx="587692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329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955F7B05-9431-1FBA-415D-6CF2DF562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9434" t="20278" b="22673"/>
          <a:stretch/>
        </p:blipFill>
        <p:spPr>
          <a:xfrm>
            <a:off x="25785" y="0"/>
            <a:ext cx="4093633" cy="39123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33700" y="568961"/>
            <a:ext cx="8420100" cy="1780860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33700" y="2797255"/>
            <a:ext cx="3924300" cy="464499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FF22E3-5928-787E-B062-FA18127D3BD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2933700" y="3251596"/>
            <a:ext cx="3943627" cy="3234264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410173" y="2797255"/>
            <a:ext cx="3943627" cy="464499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78E4D0B-96F1-45F3-6B2A-5FA31A37257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410173" y="3251595"/>
            <a:ext cx="3943627" cy="3234264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F41582C-9AD2-F126-40F3-D43E77D15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926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41F76B1-7BEF-7A88-1394-1164BFF08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12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1120" y="558801"/>
            <a:ext cx="9953308" cy="1780860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217F83-0BDB-C70B-29FE-2651DE1915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429817" y="0"/>
            <a:ext cx="7762183" cy="2754814"/>
            <a:chOff x="7334250" y="0"/>
            <a:chExt cx="4857750" cy="17240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0C62368-3F79-C078-7086-B23D2F5A09F8}"/>
                </a:ext>
              </a:extLst>
            </p:cNvPr>
            <p:cNvCxnSpPr/>
            <p:nvPr userDrawn="1"/>
          </p:nvCxnSpPr>
          <p:spPr>
            <a:xfrm flipH="1" flipV="1">
              <a:off x="7334250" y="0"/>
              <a:ext cx="485775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09BDD71-BF2E-BDB0-A625-D8371AEA1C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87150" y="0"/>
              <a:ext cx="704850" cy="1724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3354B96-CD25-BE1C-8CA2-3825F820B75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41120" y="2960877"/>
            <a:ext cx="2722880" cy="35128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DD81865-54C7-7674-4B2E-041D05C1D14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341120" y="3392035"/>
            <a:ext cx="2722880" cy="2907164"/>
          </a:xfrm>
        </p:spPr>
        <p:txBody>
          <a:bodyPr tIns="0">
            <a:normAutofit/>
          </a:bodyPr>
          <a:lstStyle>
            <a:lvl1pPr marL="283464" indent="-283464">
              <a:lnSpc>
                <a:spcPct val="100000"/>
              </a:lnSpc>
              <a:buFont typeface="+mj-lt"/>
              <a:buAutoNum type="arabicPeriod"/>
              <a:defRPr sz="1800" b="0" spc="50" baseline="0"/>
            </a:lvl1pPr>
            <a:lvl2pPr marL="566928" indent="-342900">
              <a:lnSpc>
                <a:spcPct val="100000"/>
              </a:lnSpc>
              <a:spcBef>
                <a:spcPts val="1000"/>
              </a:spcBef>
              <a:buFont typeface="+mj-lt"/>
              <a:buAutoNum type="alphaLcPeriod"/>
              <a:defRPr sz="1800" spc="50" baseline="0"/>
            </a:lvl2pPr>
            <a:lvl3pPr marL="850392" indent="-342900">
              <a:lnSpc>
                <a:spcPct val="100000"/>
              </a:lnSpc>
              <a:spcBef>
                <a:spcPts val="1000"/>
              </a:spcBef>
              <a:buFont typeface="+mj-lt"/>
              <a:buAutoNum type="arabicParenR"/>
              <a:defRPr sz="1800" spc="50" baseline="0"/>
            </a:lvl3pPr>
            <a:lvl4pPr marL="1042416" indent="-342900">
              <a:lnSpc>
                <a:spcPct val="100000"/>
              </a:lnSpc>
              <a:spcBef>
                <a:spcPts val="1000"/>
              </a:spcBef>
              <a:buFont typeface="+mj-lt"/>
              <a:buAutoNum type="alphaLcParenR"/>
              <a:defRPr sz="1800" spc="50" baseline="0"/>
            </a:lvl4pPr>
            <a:lvl5pPr marL="1074420" indent="-400050">
              <a:lnSpc>
                <a:spcPct val="100000"/>
              </a:lnSpc>
              <a:spcBef>
                <a:spcPts val="1000"/>
              </a:spcBef>
              <a:buFont typeface="+mj-lt"/>
              <a:buAutoNum type="romanLcPeriod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F39BA57-7F1C-623F-BC7F-B689C5AC33E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754881" y="2960877"/>
            <a:ext cx="5516880" cy="35128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4BF07A4-5A33-0B3C-A378-AB2435F1D5F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754881" y="3324859"/>
            <a:ext cx="5506720" cy="3031489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3DC63A6-41FE-6C2D-9A53-0AE4A6DBF3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B5130EC-B05B-5489-FBEC-DBEB6D1E73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085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2CC92D-F90A-CB67-4860-D6939AC295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094182" y="0"/>
            <a:ext cx="1745673" cy="38977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6874" y="1671639"/>
            <a:ext cx="5884027" cy="1204912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C376638-5C5B-8E5B-0C26-8F63B98EA4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8230" y="-9144"/>
            <a:ext cx="5481955" cy="6876288"/>
          </a:xfrm>
          <a:custGeom>
            <a:avLst/>
            <a:gdLst>
              <a:gd name="connsiteX0" fmla="*/ 0 w 5476875"/>
              <a:gd name="connsiteY0" fmla="*/ 0 h 6858000"/>
              <a:gd name="connsiteX1" fmla="*/ 5476875 w 5476875"/>
              <a:gd name="connsiteY1" fmla="*/ 0 h 6858000"/>
              <a:gd name="connsiteX2" fmla="*/ 5476875 w 5476875"/>
              <a:gd name="connsiteY2" fmla="*/ 6858000 h 6858000"/>
              <a:gd name="connsiteX3" fmla="*/ 0 w 5476875"/>
              <a:gd name="connsiteY3" fmla="*/ 6858000 h 6858000"/>
              <a:gd name="connsiteX4" fmla="*/ 0 w 5476875"/>
              <a:gd name="connsiteY4" fmla="*/ 0 h 6858000"/>
              <a:gd name="connsiteX0" fmla="*/ 0 w 5476875"/>
              <a:gd name="connsiteY0" fmla="*/ 0 h 6858000"/>
              <a:gd name="connsiteX1" fmla="*/ 2520315 w 5476875"/>
              <a:gd name="connsiteY1" fmla="*/ 0 h 6858000"/>
              <a:gd name="connsiteX2" fmla="*/ 5476875 w 5476875"/>
              <a:gd name="connsiteY2" fmla="*/ 6858000 h 6858000"/>
              <a:gd name="connsiteX3" fmla="*/ 0 w 5476875"/>
              <a:gd name="connsiteY3" fmla="*/ 6858000 h 6858000"/>
              <a:gd name="connsiteX4" fmla="*/ 0 w 5476875"/>
              <a:gd name="connsiteY4" fmla="*/ 0 h 6858000"/>
              <a:gd name="connsiteX0" fmla="*/ 5080 w 5481955"/>
              <a:gd name="connsiteY0" fmla="*/ 0 h 6858000"/>
              <a:gd name="connsiteX1" fmla="*/ 2525395 w 5481955"/>
              <a:gd name="connsiteY1" fmla="*/ 0 h 6858000"/>
              <a:gd name="connsiteX2" fmla="*/ 5481955 w 5481955"/>
              <a:gd name="connsiteY2" fmla="*/ 6858000 h 6858000"/>
              <a:gd name="connsiteX3" fmla="*/ 5080 w 5481955"/>
              <a:gd name="connsiteY3" fmla="*/ 6858000 h 6858000"/>
              <a:gd name="connsiteX4" fmla="*/ 0 w 5481955"/>
              <a:gd name="connsiteY4" fmla="*/ 4805680 h 6858000"/>
              <a:gd name="connsiteX5" fmla="*/ 5080 w 5481955"/>
              <a:gd name="connsiteY5" fmla="*/ 0 h 685800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80568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80568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80568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75996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759960 h 6863080"/>
              <a:gd name="connsiteX5" fmla="*/ 5080 w 5481955"/>
              <a:gd name="connsiteY5" fmla="*/ 0 h 686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81955" h="6863080">
                <a:moveTo>
                  <a:pt x="5080" y="0"/>
                </a:moveTo>
                <a:lnTo>
                  <a:pt x="2525395" y="0"/>
                </a:lnTo>
                <a:lnTo>
                  <a:pt x="5481955" y="6858000"/>
                </a:lnTo>
                <a:lnTo>
                  <a:pt x="899160" y="6863080"/>
                </a:lnTo>
                <a:cubicBezTo>
                  <a:pt x="506307" y="5933440"/>
                  <a:pt x="413173" y="5720080"/>
                  <a:pt x="0" y="4759960"/>
                </a:cubicBezTo>
                <a:cubicBezTo>
                  <a:pt x="1693" y="3158067"/>
                  <a:pt x="3387" y="1601893"/>
                  <a:pt x="5080" y="0"/>
                </a:cubicBezTo>
                <a:close/>
              </a:path>
            </a:pathLst>
          </a:custGeom>
        </p:spPr>
        <p:txBody>
          <a:bodyPr lIns="274320" tIns="91440" bIns="9144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4569D00-2037-2A8D-943B-22FAC1C0B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5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5967A9D-0B53-4F3F-0872-495C23A33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3B0E9A-A777-8745-6A36-0A79CB5E036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453725" y="3660774"/>
            <a:ext cx="5907176" cy="2536826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5214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778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4C17E5-24ED-44BC-BA50-02EF90355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3D101-3AF0-4F06-90ED-B83615C36C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AE9FDE-AF95-49F8-A927-35A23C9E6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E900D-8FF9-4E80-860D-89C2D3B4E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66A0C-1415-46A3-A1FF-BE18C7087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9DFD55-3C28-40EF-9E31-A92D2E4017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06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9" r:id="rId3"/>
    <p:sldLayoutId id="2147483670" r:id="rId4"/>
    <p:sldLayoutId id="2147483651" r:id="rId5"/>
    <p:sldLayoutId id="2147483671" r:id="rId6"/>
    <p:sldLayoutId id="2147483672" r:id="rId7"/>
    <p:sldLayoutId id="2147483673" r:id="rId8"/>
    <p:sldLayoutId id="2147483664" r:id="rId9"/>
    <p:sldLayoutId id="2147483674" r:id="rId10"/>
    <p:sldLayoutId id="2147483653" r:id="rId11"/>
    <p:sldLayoutId id="2147483667" r:id="rId12"/>
    <p:sldLayoutId id="214748366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rontiersin.org/articles/10.3389/fsufs.2022.884187/full" TargetMode="External"/><Relationship Id="rId13" Type="http://schemas.openxmlformats.org/officeDocument/2006/relationships/hyperlink" Target="https://www.linkedin.com/pulse/ethics-ai-agritech-balancing-innovation-tanveer-inamdar--r7cyf/" TargetMode="External"/><Relationship Id="rId3" Type="http://schemas.openxmlformats.org/officeDocument/2006/relationships/notesSlide" Target="../notesSlides/notesSlide14.xml"/><Relationship Id="rId7" Type="http://schemas.openxmlformats.org/officeDocument/2006/relationships/hyperlink" Target="https://acsess.onlinelibrary.wiley.com/doi/full/10.1002/agj2.20968" TargetMode="External"/><Relationship Id="rId12" Type="http://schemas.openxmlformats.org/officeDocument/2006/relationships/hyperlink" Target="https://library.oapen.org/bitstream/handle/20.500.12657/61554/1/9781801463577.pdf" TargetMode="External"/><Relationship Id="rId17" Type="http://schemas.openxmlformats.org/officeDocument/2006/relationships/hyperlink" Target="https://www.sustainability-times.com/sustainable-business/farm-robots-could-help-save-the-environment-or-further-destroy-it/" TargetMode="External"/><Relationship Id="rId2" Type="http://schemas.openxmlformats.org/officeDocument/2006/relationships/slideLayout" Target="../slideLayouts/slideLayout12.xml"/><Relationship Id="rId16" Type="http://schemas.openxmlformats.org/officeDocument/2006/relationships/hyperlink" Target="https://aiforgood.itu.int/agricultural-robots-farming-smarter-not-harder/" TargetMode="External"/><Relationship Id="rId1" Type="http://schemas.openxmlformats.org/officeDocument/2006/relationships/tags" Target="../tags/tag2.xml"/><Relationship Id="rId6" Type="http://schemas.openxmlformats.org/officeDocument/2006/relationships/hyperlink" Target="https://www.frontiersin.org/articles/10.3389/fsufs.2022.903230/full" TargetMode="External"/><Relationship Id="rId11" Type="http://schemas.openxmlformats.org/officeDocument/2006/relationships/hyperlink" Target="https://link.springer.com/article/10.1007/s00146-021-01377-9" TargetMode="External"/><Relationship Id="rId5" Type="http://schemas.openxmlformats.org/officeDocument/2006/relationships/image" Target="../media/image20.emf"/><Relationship Id="rId15" Type="http://schemas.openxmlformats.org/officeDocument/2006/relationships/hyperlink" Target="https://researchmgt.monash.edu/ws/portalfiles/portal/342553024/324307954_oa.pdf" TargetMode="External"/><Relationship Id="rId10" Type="http://schemas.openxmlformats.org/officeDocument/2006/relationships/hyperlink" Target="https://dspace.lib.cranfield.ac.uk/bitstream/handle/1826/19331/agricultural_robotics-2023.pdf?sequence=1&amp;isAllowed=y#:~:text=Concerns%20also%20include%20precision%20technologies,to%20adapt%20to%20new%20conditions%20" TargetMode="External"/><Relationship Id="rId4" Type="http://schemas.openxmlformats.org/officeDocument/2006/relationships/oleObject" Target="../embeddings/oleObject2.bin"/><Relationship Id="rId9" Type="http://schemas.openxmlformats.org/officeDocument/2006/relationships/hyperlink" Target="https://www.researchgate.net/publication/362260169_Big_Data_Privacy_in_Smart_Farming_A_Review" TargetMode="External"/><Relationship Id="rId14" Type="http://schemas.openxmlformats.org/officeDocument/2006/relationships/hyperlink" Target="https://www.ncbi.nlm.nih.gov/pmc/articles/PMC9372537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75451-6A4B-484B-9ED1-353CCE25B0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12591" y="3329790"/>
            <a:ext cx="5008728" cy="3200400"/>
          </a:xfrm>
        </p:spPr>
        <p:txBody>
          <a:bodyPr anchor="ctr"/>
          <a:lstStyle/>
          <a:p>
            <a:r>
              <a:rPr lang="en-GB"/>
              <a:t>PSET7: Ethics Video</a:t>
            </a:r>
            <a:br>
              <a:rPr lang="en-GB"/>
            </a:br>
            <a:r>
              <a:rPr lang="en-GB"/>
              <a:t>Presentation</a:t>
            </a:r>
            <a:br>
              <a:rPr lang="en-GB"/>
            </a:br>
            <a:br>
              <a:rPr lang="en-GB"/>
            </a:br>
            <a:r>
              <a:rPr lang="de-DE" sz="1800"/>
              <a:t>Team:</a:t>
            </a:r>
            <a:br>
              <a:rPr lang="de-DE" sz="1800"/>
            </a:br>
            <a:br>
              <a:rPr lang="de-DE" sz="1600"/>
            </a:br>
            <a:r>
              <a:rPr lang="de-DE" sz="1600" b="1"/>
              <a:t>Bethlehem B.</a:t>
            </a:r>
            <a:br>
              <a:rPr lang="de-DE" sz="1600" b="1"/>
            </a:br>
            <a:r>
              <a:rPr lang="de-DE" sz="1600" b="1"/>
              <a:t>Bethun B.</a:t>
            </a:r>
            <a:br>
              <a:rPr lang="de-DE" sz="1600" b="1"/>
            </a:br>
            <a:r>
              <a:rPr lang="de-DE" sz="1600" b="1"/>
              <a:t>Tousif S.</a:t>
            </a:r>
            <a:br>
              <a:rPr lang="de-DE"/>
            </a:br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33BE5EF-DEF4-B2C2-B51A-6F0CAA32B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2803" y="327810"/>
            <a:ext cx="3084550" cy="828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6058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7FEF43-2EC3-8B94-608D-72BDE0E27E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7FEF43-2EC3-8B94-608D-72BDE0E27E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9BDDA34-19E0-B666-A9A1-7AF62295E63A}"/>
              </a:ext>
            </a:extLst>
          </p:cNvPr>
          <p:cNvSpPr/>
          <p:nvPr/>
        </p:nvSpPr>
        <p:spPr>
          <a:xfrm>
            <a:off x="8020334" y="1166883"/>
            <a:ext cx="3340567" cy="52816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US" b="1">
              <a:solidFill>
                <a:schemeClr val="tx1"/>
              </a:solidFill>
            </a:endParaRPr>
          </a:p>
          <a:p>
            <a:r>
              <a:rPr lang="en-AE" b="1">
                <a:solidFill>
                  <a:schemeClr val="tx1"/>
                </a:solidFill>
              </a:rPr>
              <a:t>Solution:</a:t>
            </a:r>
            <a:endParaRPr lang="en-US" b="1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IN" sz="1600" b="1">
                <a:solidFill>
                  <a:schemeClr val="tx1"/>
                </a:solidFill>
              </a:rPr>
              <a:t>Investment in educating and upskilling </a:t>
            </a:r>
            <a:r>
              <a:rPr lang="en-IN" sz="1600">
                <a:solidFill>
                  <a:schemeClr val="tx1"/>
                </a:solidFill>
              </a:rPr>
              <a:t>farm worker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IN" sz="1600" b="1">
                <a:solidFill>
                  <a:schemeClr val="tx1"/>
                </a:solidFill>
              </a:rPr>
              <a:t>Policy and financial support for small-scale farmers </a:t>
            </a:r>
            <a:r>
              <a:rPr lang="en-IN" sz="1600">
                <a:solidFill>
                  <a:schemeClr val="tx1"/>
                </a:solidFill>
              </a:rPr>
              <a:t>to access swarm robot technology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IN" sz="1600" b="1">
                <a:solidFill>
                  <a:schemeClr val="tx1"/>
                </a:solidFill>
              </a:rPr>
              <a:t>Combine traditional knowledge with swarm robotics </a:t>
            </a:r>
            <a:r>
              <a:rPr lang="en-IN" sz="1600">
                <a:solidFill>
                  <a:schemeClr val="tx1"/>
                </a:solidFill>
              </a:rPr>
              <a:t>to improve profitability while preserving local knowledge and biodiversity</a:t>
            </a:r>
            <a:endParaRPr lang="en-AE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7D9B3-B64F-656A-0D99-161A6C0F5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61" y="249650"/>
            <a:ext cx="9953308" cy="555568"/>
          </a:xfrm>
        </p:spPr>
        <p:txBody>
          <a:bodyPr vert="horz" anchor="t"/>
          <a:lstStyle/>
          <a:p>
            <a:r>
              <a:rPr lang="en-US"/>
              <a:t>JOB DISPLACEMENT</a:t>
            </a:r>
          </a:p>
        </p:txBody>
      </p:sp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AA0ACADD-CC4E-851C-DA07-C22DB97FA2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713DE9-3B12-AA28-9750-34FDEB7364FC}"/>
              </a:ext>
            </a:extLst>
          </p:cNvPr>
          <p:cNvSpPr/>
          <p:nvPr/>
        </p:nvSpPr>
        <p:spPr>
          <a:xfrm>
            <a:off x="764275" y="1166884"/>
            <a:ext cx="3200400" cy="52816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b="1">
                <a:solidFill>
                  <a:schemeClr val="tx1"/>
                </a:solidFill>
              </a:rPr>
              <a:t>Concern:</a:t>
            </a:r>
          </a:p>
          <a:p>
            <a:endParaRPr lang="en-GB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Swarm robotics </a:t>
            </a:r>
            <a:r>
              <a:rPr lang="en-IN" sz="1600">
                <a:solidFill>
                  <a:schemeClr val="tx1"/>
                </a:solidFill>
              </a:rPr>
              <a:t>could replace manual </a:t>
            </a:r>
            <a:r>
              <a:rPr lang="en-IN" sz="1600" err="1">
                <a:solidFill>
                  <a:schemeClr val="tx1"/>
                </a:solidFill>
              </a:rPr>
              <a:t>labor</a:t>
            </a:r>
            <a:r>
              <a:rPr lang="en-IN" sz="1600">
                <a:solidFill>
                  <a:schemeClr val="tx1"/>
                </a:solidFill>
              </a:rPr>
              <a:t> for farm workers reliant on various tasks involved in planting, monitoring and harvest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600">
                <a:solidFill>
                  <a:schemeClr val="tx1"/>
                </a:solidFill>
              </a:rPr>
              <a:t>Job displacement can trigger poverty and reduced access to essential servic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600">
                <a:solidFill>
                  <a:schemeClr val="tx1"/>
                </a:solidFill>
              </a:rPr>
              <a:t>Small-scale farmers may face barriers to accessing and affording robotic swarm technology, exacerbating wealth inequaliti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600">
                <a:solidFill>
                  <a:schemeClr val="tx1"/>
                </a:solidFill>
              </a:rPr>
              <a:t>Decline in traditional farming practices and indigenous knowledge, risking loss of sustainable farming methods.</a:t>
            </a:r>
            <a:endParaRPr lang="en-AE" sz="16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593D3D-399D-F9FC-D285-C2A27932D322}"/>
              </a:ext>
            </a:extLst>
          </p:cNvPr>
          <p:cNvSpPr/>
          <p:nvPr/>
        </p:nvSpPr>
        <p:spPr>
          <a:xfrm>
            <a:off x="4312693" y="1166883"/>
            <a:ext cx="3200400" cy="18970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b="1">
                <a:solidFill>
                  <a:schemeClr val="tx1"/>
                </a:solidFill>
              </a:rPr>
              <a:t>Risk:</a:t>
            </a:r>
          </a:p>
          <a:p>
            <a:endParaRPr lang="en-GB">
              <a:solidFill>
                <a:schemeClr val="tx1"/>
              </a:solidFill>
            </a:endParaRPr>
          </a:p>
          <a:p>
            <a:r>
              <a:rPr lang="en-GB" sz="1600">
                <a:solidFill>
                  <a:schemeClr val="tx1"/>
                </a:solidFill>
              </a:rPr>
              <a:t>Risk Associated with increase in unemployment and wealth inequality due to technology adoption and automation</a:t>
            </a:r>
            <a:endParaRPr lang="en-AE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AE4136-72B9-5170-6CB7-C84B8D205083}"/>
              </a:ext>
            </a:extLst>
          </p:cNvPr>
          <p:cNvSpPr/>
          <p:nvPr/>
        </p:nvSpPr>
        <p:spPr>
          <a:xfrm>
            <a:off x="4312693" y="3161731"/>
            <a:ext cx="3200400" cy="32868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b="1">
                <a:solidFill>
                  <a:schemeClr val="tx1"/>
                </a:solidFill>
              </a:rPr>
              <a:t>Impact:</a:t>
            </a:r>
            <a:endParaRPr lang="en-GB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Economic disruption and poverty for farm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Weakened local economies due to migration in search of alternative employ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Barriers for small scale farmers operating on tight margi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600">
                <a:solidFill>
                  <a:schemeClr val="tx1"/>
                </a:solidFill>
              </a:rPr>
              <a:t>Loss of traditional knowledge on resilience to local environments, promoting biodiversity, soil health, and water conservation.</a:t>
            </a:r>
            <a:endParaRPr lang="en-AE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836C3F-9341-A8F8-4CB9-923E84F6AB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14026" y="1276691"/>
            <a:ext cx="2077543" cy="207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6312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/>
          <a:lstStyle/>
          <a:p>
            <a:r>
              <a:rPr lang="en-US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729043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7D9B3-B64F-656A-0D99-161A6C0F5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61" y="249650"/>
            <a:ext cx="9953308" cy="555568"/>
          </a:xfrm>
        </p:spPr>
        <p:txBody>
          <a:bodyPr anchor="t"/>
          <a:lstStyle/>
          <a:p>
            <a:r>
              <a:rPr lang="en-US"/>
              <a:t>Conclusion</a:t>
            </a:r>
          </a:p>
        </p:txBody>
      </p:sp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AA0ACADD-CC4E-851C-DA07-C22DB97FA2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C35B5B-06C9-6669-406F-42A7DB4E6074}"/>
              </a:ext>
            </a:extLst>
          </p:cNvPr>
          <p:cNvSpPr/>
          <p:nvPr/>
        </p:nvSpPr>
        <p:spPr>
          <a:xfrm>
            <a:off x="638261" y="1139588"/>
            <a:ext cx="5290782" cy="1685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sz="1600" b="1">
                <a:solidFill>
                  <a:schemeClr val="tx1"/>
                </a:solidFill>
                <a:ea typeface="+mn-lt"/>
                <a:cs typeface="+mn-lt"/>
              </a:rPr>
              <a:t>Environmental Impact</a:t>
            </a:r>
            <a:r>
              <a:rPr lang="en-GB" sz="1600">
                <a:solidFill>
                  <a:schemeClr val="tx1"/>
                </a:solidFill>
              </a:rPr>
              <a:t>: </a:t>
            </a: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Addressing environmental ethical concerns in swarm robotics for agriculture requires </a:t>
            </a:r>
            <a:r>
              <a:rPr lang="en-GB" sz="1600" b="1">
                <a:solidFill>
                  <a:schemeClr val="tx1"/>
                </a:solidFill>
                <a:ea typeface="+mn-lt"/>
                <a:cs typeface="+mn-lt"/>
              </a:rPr>
              <a:t>minimizing disruption of wildlife, protecting soil health, designating flight zones, and promoting responsible herbicide use. </a:t>
            </a: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Doing this ensure a productive and ecologically responsible agricultural future.</a:t>
            </a:r>
            <a:endParaRPr lang="en-US" sz="1600">
              <a:solidFill>
                <a:schemeClr val="tx1"/>
              </a:solidFill>
              <a:ea typeface="+mn-lt"/>
              <a:cs typeface="+mn-lt"/>
            </a:endParaRPr>
          </a:p>
          <a:p>
            <a:endParaRPr lang="en-GB" sz="1600">
              <a:solidFill>
                <a:schemeClr val="tx1"/>
              </a:solidFill>
              <a:ea typeface="+mn-lt"/>
              <a:cs typeface="+mn-lt"/>
            </a:endParaRPr>
          </a:p>
        </p:txBody>
      </p:sp>
      <p:pic>
        <p:nvPicPr>
          <p:cNvPr id="6146" name="Picture 2" descr="Aerial view of fields">
            <a:extLst>
              <a:ext uri="{FF2B5EF4-FFF2-40B4-BE49-F238E27FC236}">
                <a16:creationId xmlns:a16="http://schemas.microsoft.com/office/drawing/2014/main" id="{4DC65440-616D-32F0-5487-4A25A5E27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131" y="1139588"/>
            <a:ext cx="5415567" cy="525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DDFCB70-371B-143B-3CA9-F59BD0CBBF40}"/>
              </a:ext>
            </a:extLst>
          </p:cNvPr>
          <p:cNvSpPr/>
          <p:nvPr/>
        </p:nvSpPr>
        <p:spPr>
          <a:xfrm>
            <a:off x="638261" y="2922896"/>
            <a:ext cx="5290782" cy="1685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sz="1600" b="1">
                <a:solidFill>
                  <a:schemeClr val="tx1"/>
                </a:solidFill>
              </a:rPr>
              <a:t>Data Privacy and Security: </a:t>
            </a:r>
            <a:r>
              <a:rPr lang="en-GB" sz="1600">
                <a:solidFill>
                  <a:schemeClr val="tx1"/>
                </a:solidFill>
              </a:rPr>
              <a:t>Addressing the ethical concern of data privacy and security in swarm robotics for agriculture involves </a:t>
            </a:r>
            <a:r>
              <a:rPr lang="en-GB" sz="1600" b="1">
                <a:solidFill>
                  <a:schemeClr val="tx1"/>
                </a:solidFill>
              </a:rPr>
              <a:t>implementing robust data governance and security measures to protect sensitive information</a:t>
            </a:r>
            <a:r>
              <a:rPr lang="en-GB" sz="1600">
                <a:solidFill>
                  <a:schemeClr val="tx1"/>
                </a:solidFill>
              </a:rPr>
              <a:t>, thus ensuring the sustainable and ethical advancement of this transformative technology.</a:t>
            </a:r>
            <a:endParaRPr lang="en-AE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196D27-2BDC-E5F8-F5F0-822D6EC47FBB}"/>
              </a:ext>
            </a:extLst>
          </p:cNvPr>
          <p:cNvSpPr/>
          <p:nvPr/>
        </p:nvSpPr>
        <p:spPr>
          <a:xfrm>
            <a:off x="638261" y="4706204"/>
            <a:ext cx="5290782" cy="1685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sz="1600" b="1">
                <a:solidFill>
                  <a:schemeClr val="tx1"/>
                </a:solidFill>
              </a:rPr>
              <a:t>Job Displacement: </a:t>
            </a:r>
            <a:r>
              <a:rPr lang="en-GB" sz="1600">
                <a:solidFill>
                  <a:schemeClr val="tx1"/>
                </a:solidFill>
              </a:rPr>
              <a:t>Addressing the ethical concern of job displacement in swarm robotics for agriculture involves </a:t>
            </a:r>
            <a:r>
              <a:rPr lang="en-IN" sz="1600" b="1">
                <a:solidFill>
                  <a:schemeClr val="tx1"/>
                </a:solidFill>
              </a:rPr>
              <a:t>upskilling farm workers, policy and financial support for small-scale farmers, and combining traditional knowledge with swarm robotics</a:t>
            </a:r>
            <a:r>
              <a:rPr lang="en-IN" sz="1600">
                <a:solidFill>
                  <a:schemeClr val="tx1"/>
                </a:solidFill>
              </a:rPr>
              <a:t> to improve profitability while preserving local knowledge and biodiversity</a:t>
            </a:r>
            <a:endParaRPr lang="en-AE" sz="1600">
              <a:solidFill>
                <a:schemeClr val="tx1"/>
              </a:solidFill>
            </a:endParaRPr>
          </a:p>
          <a:p>
            <a:endParaRPr lang="en-IN" sz="1600">
              <a:solidFill>
                <a:schemeClr val="tx1"/>
              </a:solidFill>
            </a:endParaRPr>
          </a:p>
          <a:p>
            <a:endParaRPr lang="en-IN" sz="1600">
              <a:solidFill>
                <a:schemeClr val="tx1"/>
              </a:solidFill>
            </a:endParaRPr>
          </a:p>
          <a:p>
            <a:endParaRPr lang="en-A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0594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/>
          <a:lstStyle/>
          <a:p>
            <a:r>
              <a:rPr lang="en-US" err="1"/>
              <a:t>REferenc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0789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6D3CF09-EE4E-F49C-DF27-B270D1D66D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D3CF09-EE4E-F49C-DF27-B270D1D66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3E5FEE2D-79E5-4C1D-8BF7-EE619CA70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3550"/>
            <a:ext cx="10515600" cy="717799"/>
          </a:xfrm>
        </p:spPr>
        <p:txBody>
          <a:bodyPr vert="horz" anchor="t"/>
          <a:lstStyle/>
          <a:p>
            <a:pPr algn="l"/>
            <a:r>
              <a:rPr lang="en-US"/>
              <a:t>Referenc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32B776-E386-1CF9-CC8F-2D2FF3EA7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877B7B-B83D-CB3F-A7C4-FE40C33610CD}"/>
              </a:ext>
            </a:extLst>
          </p:cNvPr>
          <p:cNvSpPr txBox="1"/>
          <p:nvPr/>
        </p:nvSpPr>
        <p:spPr>
          <a:xfrm>
            <a:off x="914400" y="1125940"/>
            <a:ext cx="10439400" cy="535531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>
                <a:hlinkClick r:id="rId6"/>
              </a:rPr>
              <a:t>https://www.frontiersin.org/articles/10.3389/fsufs.2022.903230/full</a:t>
            </a:r>
            <a:endParaRPr lang="en-GB"/>
          </a:p>
          <a:p>
            <a:r>
              <a:rPr lang="en-GB">
                <a:hlinkClick r:id="rId7"/>
              </a:rPr>
              <a:t>https://acsess.onlinelibrary.wiley.com/doi/full/10.1002/agj2.20968</a:t>
            </a:r>
            <a:endParaRPr lang="en-GB"/>
          </a:p>
          <a:p>
            <a:r>
              <a:rPr lang="en-GB">
                <a:hlinkClick r:id="rId8"/>
              </a:rPr>
              <a:t>https://www.frontiersin.org/articles/10.3389/fsufs.2022.884187/full</a:t>
            </a:r>
            <a:endParaRPr lang="en-GB"/>
          </a:p>
          <a:p>
            <a:r>
              <a:rPr lang="en-GB">
                <a:hlinkClick r:id="rId9"/>
              </a:rPr>
              <a:t>https://www.researchgate.net/publication/362260169_Big_Data_Privacy_in_Smart_Farming_A_Review</a:t>
            </a:r>
            <a:endParaRPr lang="en-GB"/>
          </a:p>
          <a:p>
            <a:r>
              <a:rPr lang="en-GB">
                <a:hlinkClick r:id="rId6"/>
              </a:rPr>
              <a:t>https://www.frontiersin.org/articles/10.3389/fsufs.2022.903230/full</a:t>
            </a:r>
            <a:endParaRPr lang="en-GB"/>
          </a:p>
          <a:p>
            <a:r>
              <a:rPr lang="en-GB">
                <a:hlinkClick r:id="rId10"/>
              </a:rPr>
              <a:t>https://dspace.lib.cranfield.ac.uk/bitstream/handle/1826/19331/agricultural_robotics-2023.pdf?sequence=1&amp;isAllowed=y#:~:text=Concerns%20also%20include%20precision%20technologies,to%20adapt%20to%20new%20conditions%20</a:t>
            </a:r>
            <a:endParaRPr lang="en-GB"/>
          </a:p>
          <a:p>
            <a:r>
              <a:rPr lang="en-GB">
                <a:hlinkClick r:id="rId11"/>
              </a:rPr>
              <a:t>https://link.springer.com/article/10.1007/s00146-021-01377-9</a:t>
            </a:r>
            <a:endParaRPr lang="en-GB"/>
          </a:p>
          <a:p>
            <a:r>
              <a:rPr lang="en-GB">
                <a:hlinkClick r:id="rId12"/>
              </a:rPr>
              <a:t>https://library.oapen.org/bitstream/handle/20.500.12657/61554/1/9781801463577.pdf</a:t>
            </a:r>
            <a:endParaRPr lang="en-GB"/>
          </a:p>
          <a:p>
            <a:r>
              <a:rPr lang="en-GB">
                <a:hlinkClick r:id="rId13"/>
              </a:rPr>
              <a:t>https://www.linkedin.com/pulse/ethics-ai-agritech-balancing-innovation-tanveer-inamdar--r7cyf/</a:t>
            </a:r>
            <a:endParaRPr lang="en-GB"/>
          </a:p>
          <a:p>
            <a:r>
              <a:rPr lang="en-GB">
                <a:hlinkClick r:id="rId14"/>
              </a:rPr>
              <a:t>https://www.ncbi.nlm.nih.gov/pmc/articles/PMC9372537/</a:t>
            </a:r>
            <a:endParaRPr lang="en-GB"/>
          </a:p>
          <a:p>
            <a:r>
              <a:rPr lang="en-GB">
                <a:ea typeface="+mn-lt"/>
                <a:cs typeface="+mn-lt"/>
                <a:hlinkClick r:id="rId15"/>
              </a:rPr>
              <a:t>https://researchmgt.monash.edu/ws/portalfiles/portal/342553024/324307954_oa.pdf</a:t>
            </a:r>
            <a:endParaRPr lang="en-GB"/>
          </a:p>
          <a:p>
            <a:r>
              <a:rPr lang="en-GB">
                <a:ea typeface="+mn-lt"/>
                <a:cs typeface="+mn-lt"/>
                <a:hlinkClick r:id="rId16"/>
              </a:rPr>
              <a:t>https://aiforgood.itu.int/agricultural-robots-farming-smarter-not-harder/</a:t>
            </a:r>
            <a:endParaRPr lang="en-GB"/>
          </a:p>
          <a:p>
            <a:r>
              <a:rPr lang="en-GB">
                <a:ea typeface="+mn-lt"/>
                <a:cs typeface="+mn-lt"/>
                <a:hlinkClick r:id="rId17"/>
              </a:rPr>
              <a:t>https://www.sustainability-times.com/sustainable-business/farm-robots-could-help-save-the-environment-or-further-destroy-it/</a:t>
            </a:r>
            <a:endParaRPr lang="en-GB"/>
          </a:p>
          <a:p>
            <a:endParaRPr lang="en-GB"/>
          </a:p>
          <a:p>
            <a:endParaRPr lang="en-GB"/>
          </a:p>
          <a:p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738773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1EDE-5423-435C-B149-87AB1BC22B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67200" y="1615736"/>
            <a:ext cx="4179570" cy="1524735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64C29E-DF30-4DC6-AB95-2016F9A70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7200" y="3238103"/>
            <a:ext cx="4179570" cy="2850181"/>
          </a:xfrm>
        </p:spPr>
        <p:txBody>
          <a:bodyPr>
            <a:noAutofit/>
          </a:bodyPr>
          <a:lstStyle/>
          <a:p>
            <a:r>
              <a:rPr lang="de-DE" sz="2000"/>
              <a:t>Team:</a:t>
            </a:r>
            <a:br>
              <a:rPr lang="de-DE" sz="2000"/>
            </a:br>
            <a:br>
              <a:rPr lang="de-DE" sz="1800"/>
            </a:br>
            <a:r>
              <a:rPr lang="de-DE" sz="1800" b="1"/>
              <a:t>Bethlehem B.</a:t>
            </a:r>
            <a:br>
              <a:rPr lang="de-DE" sz="1800" b="1"/>
            </a:br>
            <a:r>
              <a:rPr lang="de-DE" sz="1800" b="1"/>
              <a:t>Bethun B.</a:t>
            </a:r>
            <a:br>
              <a:rPr lang="de-DE" sz="1800" b="1"/>
            </a:br>
            <a:r>
              <a:rPr lang="de-DE" sz="1800" b="1"/>
              <a:t>Tousif S.</a:t>
            </a:r>
            <a:br>
              <a:rPr lang="de-DE"/>
            </a:b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27D99-645F-4FCF-9573-FDFE2A344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787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F5859-10C9-4588-9727-B9362E26C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0" y="1020445"/>
            <a:ext cx="2895600" cy="1325563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71D7E5-EF66-4BCD-8DAA-E9061157F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3500" y="2674013"/>
            <a:ext cx="3211204" cy="3269589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/>
              <a:t>Group and Project Introdu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/>
              <a:t>Executive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>
                <a:effectLst/>
              </a:rPr>
              <a:t>Describe each Ethical Concern and Solu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/>
              <a:t>Conclusion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2A8827-B1A1-2D2F-D6DD-E886B886C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219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/>
          <a:lstStyle/>
          <a:p>
            <a:r>
              <a:rPr lang="en-US"/>
              <a:t>Group and Project Introduction</a:t>
            </a:r>
          </a:p>
        </p:txBody>
      </p:sp>
    </p:spTree>
    <p:extLst>
      <p:ext uri="{BB962C8B-B14F-4D97-AF65-F5344CB8AC3E}">
        <p14:creationId xmlns:p14="http://schemas.microsoft.com/office/powerpoint/2010/main" val="608796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AA0ACADD-CC4E-851C-DA07-C22DB97FA2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6" name="Picture 2" descr="Tractor in a field">
            <a:extLst>
              <a:ext uri="{FF2B5EF4-FFF2-40B4-BE49-F238E27FC236}">
                <a16:creationId xmlns:a16="http://schemas.microsoft.com/office/drawing/2014/main" id="{03C49F8F-57B4-EE88-F64F-BD0F4DD572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7658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C48115-316C-02E3-FC7E-4936DFCEF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143" y="393465"/>
            <a:ext cx="3802038" cy="611921"/>
          </a:xfrm>
        </p:spPr>
        <p:txBody>
          <a:bodyPr anchor="t">
            <a:noAutofit/>
          </a:bodyPr>
          <a:lstStyle/>
          <a:p>
            <a:r>
              <a:rPr lang="en-GB" sz="2400">
                <a:solidFill>
                  <a:schemeClr val="bg1"/>
                </a:solidFill>
              </a:rPr>
              <a:t>Project Name</a:t>
            </a:r>
            <a:r>
              <a:rPr lang="en-GB" sz="3600">
                <a:solidFill>
                  <a:schemeClr val="bg1"/>
                </a:solidFill>
              </a:rPr>
              <a:t>: </a:t>
            </a:r>
            <a:r>
              <a:rPr lang="en-GB" sz="3600" b="1">
                <a:solidFill>
                  <a:schemeClr val="bg1"/>
                </a:solidFill>
              </a:rPr>
              <a:t>Swarm Robotics ABM Simulation in Agricul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524B7ED-B998-199D-FFBD-111F96CEBE68}"/>
              </a:ext>
            </a:extLst>
          </p:cNvPr>
          <p:cNvSpPr txBox="1">
            <a:spLocks/>
          </p:cNvSpPr>
          <p:nvPr/>
        </p:nvSpPr>
        <p:spPr>
          <a:xfrm>
            <a:off x="6070600" y="780197"/>
            <a:ext cx="5160368" cy="5827594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2000" b="1">
                <a:solidFill>
                  <a:srgbClr val="3F3F3F"/>
                </a:solidFill>
                <a:latin typeface="Tenorite"/>
              </a:rPr>
              <a:t>Description: </a:t>
            </a:r>
          </a:p>
          <a:p>
            <a:pPr>
              <a:spcBef>
                <a:spcPts val="0"/>
              </a:spcBef>
            </a:pPr>
            <a:endParaRPr lang="en-GB" sz="1800">
              <a:solidFill>
                <a:srgbClr val="3F3F3F"/>
              </a:solidFill>
              <a:latin typeface="Tenorite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800">
                <a:solidFill>
                  <a:srgbClr val="3F3F3F"/>
                </a:solidFill>
                <a:latin typeface="Tenorite"/>
              </a:rPr>
              <a:t>We aim to build simulation algorithms of Swarm Robotics by leveraging ground robots and drones in an Agent-Based Model to improve yield optimization. </a:t>
            </a:r>
            <a:endParaRPr lang="en-GB">
              <a:latin typeface="Tenorite"/>
            </a:endParaRPr>
          </a:p>
          <a:p>
            <a:pPr marL="0" indent="0">
              <a:spcBef>
                <a:spcPts val="0"/>
              </a:spcBef>
              <a:buNone/>
            </a:pPr>
            <a:br>
              <a:rPr lang="en-GB">
                <a:latin typeface="Tenorite"/>
              </a:rPr>
            </a:br>
            <a:r>
              <a:rPr lang="en-GB" sz="1800">
                <a:solidFill>
                  <a:srgbClr val="3F3F3F"/>
                </a:solidFill>
                <a:latin typeface="Tenorite"/>
              </a:rPr>
              <a:t>The algorithms will focus on:</a:t>
            </a:r>
          </a:p>
          <a:p>
            <a:pPr marL="0" indent="0">
              <a:spcBef>
                <a:spcPts val="0"/>
              </a:spcBef>
              <a:buNone/>
            </a:pPr>
            <a:endParaRPr lang="en-GB">
              <a:latin typeface="Tenorite"/>
            </a:endParaRPr>
          </a:p>
          <a:p>
            <a:pPr fontAlgn="base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GB" sz="1800">
                <a:solidFill>
                  <a:srgbClr val="3F3F3F"/>
                </a:solidFill>
                <a:latin typeface="Tenorite"/>
              </a:rPr>
              <a:t>efficiency and effectiveness in communication between the drones and ground robots</a:t>
            </a:r>
          </a:p>
          <a:p>
            <a:pPr fontAlgn="base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GB" sz="1800">
                <a:solidFill>
                  <a:srgbClr val="3F3F3F"/>
                </a:solidFill>
                <a:latin typeface="Tenorite"/>
              </a:rPr>
              <a:t>path planning, optimization, and coordination</a:t>
            </a:r>
          </a:p>
          <a:p>
            <a:pPr fontAlgn="base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GB" sz="1800" i="1">
                <a:solidFill>
                  <a:schemeClr val="bg2">
                    <a:lumMod val="50000"/>
                  </a:schemeClr>
                </a:solidFill>
                <a:latin typeface="Tenorite"/>
              </a:rPr>
              <a:t>weed detection and plant disease identification [Stretch Goal]</a:t>
            </a:r>
          </a:p>
          <a:p>
            <a:pPr marL="0" indent="0">
              <a:spcBef>
                <a:spcPts val="0"/>
              </a:spcBef>
              <a:buNone/>
            </a:pPr>
            <a:br>
              <a:rPr lang="en-GB">
                <a:latin typeface="Tenorite"/>
              </a:rPr>
            </a:br>
            <a:r>
              <a:rPr lang="en-GB" sz="1800">
                <a:solidFill>
                  <a:srgbClr val="3F3F3F"/>
                </a:solidFill>
                <a:latin typeface="Tenorite"/>
              </a:rPr>
              <a:t>The project will explore scenarios with ground-only swarm robots and a combination of ground and aerial vehicles, using the Python MESA framework for agent-based </a:t>
            </a:r>
            <a:r>
              <a:rPr lang="en-GB" sz="1800" err="1">
                <a:solidFill>
                  <a:srgbClr val="3F3F3F"/>
                </a:solidFill>
                <a:latin typeface="Tenorite"/>
              </a:rPr>
              <a:t>modeling</a:t>
            </a:r>
            <a:r>
              <a:rPr lang="en-GB" sz="1800">
                <a:solidFill>
                  <a:srgbClr val="3F3F3F"/>
                </a:solidFill>
                <a:latin typeface="Tenorite"/>
              </a:rPr>
              <a:t> (ABM).</a:t>
            </a:r>
          </a:p>
          <a:p>
            <a:pPr>
              <a:spcBef>
                <a:spcPts val="0"/>
              </a:spcBef>
            </a:pPr>
            <a:endParaRPr lang="en-GB">
              <a:solidFill>
                <a:srgbClr val="3F3F3F"/>
              </a:solidFill>
              <a:latin typeface="Tenorite"/>
            </a:endParaRPr>
          </a:p>
          <a:p>
            <a:pPr>
              <a:spcBef>
                <a:spcPts val="0"/>
              </a:spcBef>
            </a:pPr>
            <a:endParaRPr lang="en-GB">
              <a:solidFill>
                <a:srgbClr val="3F3F3F"/>
              </a:solidFill>
              <a:latin typeface="Tenorite"/>
            </a:endParaRPr>
          </a:p>
          <a:p>
            <a:pPr>
              <a:spcBef>
                <a:spcPts val="0"/>
              </a:spcBef>
            </a:pPr>
            <a:endParaRPr lang="en-GB">
              <a:solidFill>
                <a:srgbClr val="3F3F3F"/>
              </a:solidFill>
              <a:latin typeface="Tenorite"/>
            </a:endParaRPr>
          </a:p>
          <a:p>
            <a:pPr>
              <a:spcBef>
                <a:spcPts val="0"/>
              </a:spcBef>
            </a:pPr>
            <a:endParaRPr lang="en-GB">
              <a:solidFill>
                <a:srgbClr val="3F3F3F"/>
              </a:solidFill>
              <a:latin typeface="Tenorite"/>
            </a:endParaRPr>
          </a:p>
          <a:p>
            <a:pPr>
              <a:spcBef>
                <a:spcPts val="0"/>
              </a:spcBef>
            </a:pPr>
            <a:endParaRPr lang="en-GB">
              <a:solidFill>
                <a:srgbClr val="3F3F3F"/>
              </a:solidFill>
              <a:latin typeface="Tenorite"/>
            </a:endParaRPr>
          </a:p>
          <a:p>
            <a:pPr>
              <a:spcBef>
                <a:spcPts val="0"/>
              </a:spcBef>
            </a:pPr>
            <a:endParaRPr lang="en-GB">
              <a:latin typeface="Tenorite"/>
            </a:endParaRPr>
          </a:p>
        </p:txBody>
      </p:sp>
    </p:spTree>
    <p:extLst>
      <p:ext uri="{BB962C8B-B14F-4D97-AF65-F5344CB8AC3E}">
        <p14:creationId xmlns:p14="http://schemas.microsoft.com/office/powerpoint/2010/main" val="1071988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/>
          <a:lstStyle/>
          <a:p>
            <a:r>
              <a:rPr lang="en-US"/>
              <a:t>Executive </a:t>
            </a:r>
            <a:r>
              <a:rPr lang="en-US" err="1"/>
              <a:t>SUmmar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274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7D9B3-B64F-656A-0D99-161A6C0F5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61" y="249650"/>
            <a:ext cx="9953308" cy="555568"/>
          </a:xfrm>
        </p:spPr>
        <p:txBody>
          <a:bodyPr anchor="t"/>
          <a:lstStyle/>
          <a:p>
            <a:r>
              <a:rPr lang="en-US"/>
              <a:t>Summary of Ethical Concer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5B6E40-3A7D-ACF7-AA38-25977D322D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1561" y="1629572"/>
            <a:ext cx="2722880" cy="351284"/>
          </a:xfrm>
        </p:spPr>
        <p:txBody>
          <a:bodyPr/>
          <a:lstStyle/>
          <a:p>
            <a:r>
              <a:rPr lang="en-US"/>
              <a:t>Environmental Impact</a:t>
            </a:r>
          </a:p>
        </p:txBody>
      </p:sp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AA0ACADD-CC4E-851C-DA07-C22DB97FA2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B8D0DEB-5899-A208-FDB8-D154692F554F}"/>
              </a:ext>
            </a:extLst>
          </p:cNvPr>
          <p:cNvSpPr txBox="1">
            <a:spLocks/>
          </p:cNvSpPr>
          <p:nvPr/>
        </p:nvSpPr>
        <p:spPr>
          <a:xfrm>
            <a:off x="8056129" y="1629572"/>
            <a:ext cx="2956104" cy="3512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Job Displacement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A9F8CE3D-3F71-691B-6327-111204B413B8}"/>
              </a:ext>
            </a:extLst>
          </p:cNvPr>
          <p:cNvSpPr txBox="1">
            <a:spLocks/>
          </p:cNvSpPr>
          <p:nvPr/>
        </p:nvSpPr>
        <p:spPr>
          <a:xfrm>
            <a:off x="4136863" y="1629572"/>
            <a:ext cx="2956104" cy="3512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Data Privacy and Secur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1BF43A-FF8C-CF5F-001A-A3BE40AC09EA}"/>
              </a:ext>
            </a:extLst>
          </p:cNvPr>
          <p:cNvSpPr txBox="1"/>
          <p:nvPr/>
        </p:nvSpPr>
        <p:spPr>
          <a:xfrm>
            <a:off x="831098" y="2176818"/>
            <a:ext cx="2811439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/>
              <a:t>Concern: While swarm robotics can reduce the environmental footprint of farming practices, </a:t>
            </a:r>
            <a:r>
              <a:rPr lang="en-GB" b="1" i="1"/>
              <a:t>manufacturing, operation, and disposal of these robots can cause environmental</a:t>
            </a:r>
            <a:r>
              <a:rPr lang="en-GB" b="1" i="1">
                <a:ea typeface="+mn-lt"/>
                <a:cs typeface="+mn-lt"/>
              </a:rPr>
              <a:t> </a:t>
            </a:r>
            <a:r>
              <a:rPr lang="en-GB" b="1" i="1"/>
              <a:t>harm, since they're made of metals and plastics. </a:t>
            </a:r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F4FD02-31BF-F34A-9277-F3C30749C143}"/>
              </a:ext>
            </a:extLst>
          </p:cNvPr>
          <p:cNvSpPr txBox="1"/>
          <p:nvPr/>
        </p:nvSpPr>
        <p:spPr>
          <a:xfrm>
            <a:off x="4136863" y="2176817"/>
            <a:ext cx="281143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Concern: Swarm robotics systems will generate and utilize large amounts of data related to farm operations, crop health, and possibly even land and water use. </a:t>
            </a:r>
            <a:r>
              <a:rPr lang="en-GB" b="1" i="1"/>
              <a:t>There's a risk that this data could be misused, leading to privacy breaches or exploitation</a:t>
            </a:r>
            <a:endParaRPr lang="en-AE" b="1" i="1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D68EBDE-BED3-8929-145C-81193C20C2F7}"/>
              </a:ext>
            </a:extLst>
          </p:cNvPr>
          <p:cNvCxnSpPr/>
          <p:nvPr/>
        </p:nvCxnSpPr>
        <p:spPr>
          <a:xfrm>
            <a:off x="3821373" y="1629572"/>
            <a:ext cx="0" cy="4726777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758A499-C2C1-A5D8-1429-76DA4C14A3DE}"/>
              </a:ext>
            </a:extLst>
          </p:cNvPr>
          <p:cNvCxnSpPr/>
          <p:nvPr/>
        </p:nvCxnSpPr>
        <p:spPr>
          <a:xfrm>
            <a:off x="7733731" y="1697358"/>
            <a:ext cx="0" cy="4726777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EEEE1A5-910E-E06D-95FA-2EB8FDC2EC06}"/>
              </a:ext>
            </a:extLst>
          </p:cNvPr>
          <p:cNvSpPr txBox="1"/>
          <p:nvPr/>
        </p:nvSpPr>
        <p:spPr>
          <a:xfrm>
            <a:off x="8055687" y="2176817"/>
            <a:ext cx="281143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Concern: </a:t>
            </a:r>
            <a:r>
              <a:rPr lang="en-AE"/>
              <a:t>The adoption of robotic swarms in agriculture might lead to </a:t>
            </a:r>
            <a:r>
              <a:rPr lang="en-AE" b="1"/>
              <a:t>significant job displacement, affecting farm workers whose livelihoods depend on manual </a:t>
            </a:r>
            <a:r>
              <a:rPr lang="en-AE" b="1" err="1"/>
              <a:t>labor</a:t>
            </a:r>
            <a:r>
              <a:rPr lang="en-AE" b="1"/>
              <a:t> in farming operations.</a:t>
            </a:r>
          </a:p>
          <a:p>
            <a:endParaRPr lang="en-AE" b="1" i="1"/>
          </a:p>
        </p:txBody>
      </p:sp>
    </p:spTree>
    <p:extLst>
      <p:ext uri="{BB962C8B-B14F-4D97-AF65-F5344CB8AC3E}">
        <p14:creationId xmlns:p14="http://schemas.microsoft.com/office/powerpoint/2010/main" val="1395845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/>
          <a:lstStyle/>
          <a:p>
            <a:r>
              <a:rPr lang="en-GB"/>
              <a:t>Describe each Ethical Concern and Solu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8075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DDA34-19E0-B666-A9A1-7AF62295E63A}"/>
              </a:ext>
            </a:extLst>
          </p:cNvPr>
          <p:cNvSpPr/>
          <p:nvPr/>
        </p:nvSpPr>
        <p:spPr>
          <a:xfrm>
            <a:off x="8020335" y="1166883"/>
            <a:ext cx="3200400" cy="52816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en-GB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r>
              <a:rPr lang="en-AE" b="1">
                <a:solidFill>
                  <a:schemeClr val="tx1"/>
                </a:solidFill>
              </a:rPr>
              <a:t>Solution:</a:t>
            </a:r>
          </a:p>
          <a:p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Alternating deployment areas and paths regularly</a:t>
            </a: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 with precise navigation and control systems to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distribute the impact evenly across the field</a:t>
            </a: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, allowing soil recovery. Also,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optimizing energy use</a:t>
            </a: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 via routing algorithms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to minimize idle time and unnecessary travel.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7D9B3-B64F-656A-0D99-161A6C0F5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61" y="249650"/>
            <a:ext cx="9953308" cy="555568"/>
          </a:xfrm>
        </p:spPr>
        <p:txBody>
          <a:bodyPr anchor="t"/>
          <a:lstStyle/>
          <a:p>
            <a:r>
              <a:rPr lang="en-US">
                <a:ea typeface="+mj-lt"/>
                <a:cs typeface="+mj-lt"/>
              </a:rPr>
              <a:t>Environmental Impact</a:t>
            </a:r>
            <a:endParaRPr lang="en-US"/>
          </a:p>
        </p:txBody>
      </p:sp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AA0ACADD-CC4E-851C-DA07-C22DB97FA2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713DE9-3B12-AA28-9750-34FDEB7364FC}"/>
              </a:ext>
            </a:extLst>
          </p:cNvPr>
          <p:cNvSpPr/>
          <p:nvPr/>
        </p:nvSpPr>
        <p:spPr>
          <a:xfrm>
            <a:off x="764275" y="1166884"/>
            <a:ext cx="3200400" cy="52816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b="1">
                <a:solidFill>
                  <a:schemeClr val="tx1"/>
                </a:solidFill>
              </a:rPr>
              <a:t>Concern:</a:t>
            </a:r>
          </a:p>
          <a:p>
            <a:endParaRPr lang="en-GB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Both ground robots and drones can disrupt wildlife nesting and foraging grounds, scare away pollinators, and trample vegetation.</a:t>
            </a:r>
            <a:r>
              <a:rPr lang="en-GB" sz="1600">
                <a:solidFill>
                  <a:schemeClr val="tx1"/>
                </a:solidFill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Over-reliance on targeted herbicide application could lead to a decline in beneficial insect populations that naturally control pests.</a:t>
            </a:r>
            <a:r>
              <a:rPr lang="en-GB" sz="1600">
                <a:solidFill>
                  <a:schemeClr val="tx1"/>
                </a:solidFill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Energy consumption of charging batteries or powering propulsion systems leads to carbon emissions and resource depleti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Improper disposal of robot </a:t>
            </a:r>
            <a:r>
              <a:rPr lang="en-GB" sz="1500">
                <a:solidFill>
                  <a:srgbClr val="040C28"/>
                </a:solidFill>
                <a:ea typeface="+mn-lt"/>
                <a:cs typeface="+mn-lt"/>
              </a:rPr>
              <a:t>chassis </a:t>
            </a: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can pollute landfills, soil, and water bodie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593D3D-399D-F9FC-D285-C2A27932D322}"/>
              </a:ext>
            </a:extLst>
          </p:cNvPr>
          <p:cNvSpPr/>
          <p:nvPr/>
        </p:nvSpPr>
        <p:spPr>
          <a:xfrm>
            <a:off x="4312693" y="1166883"/>
            <a:ext cx="3200400" cy="18970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b="1">
                <a:solidFill>
                  <a:schemeClr val="tx1"/>
                </a:solidFill>
              </a:rPr>
              <a:t>Risk:</a:t>
            </a:r>
          </a:p>
          <a:p>
            <a:endParaRPr lang="en-GB">
              <a:solidFill>
                <a:schemeClr val="tx1"/>
              </a:solidFill>
            </a:endParaRPr>
          </a:p>
          <a:p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Risk associated with the environmental impact include soil disturbance, pollution, disruption of local ecosystems and potential chemical exposure. </a:t>
            </a: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AE4136-72B9-5170-6CB7-C84B8D205083}"/>
              </a:ext>
            </a:extLst>
          </p:cNvPr>
          <p:cNvSpPr/>
          <p:nvPr/>
        </p:nvSpPr>
        <p:spPr>
          <a:xfrm>
            <a:off x="4312693" y="3161731"/>
            <a:ext cx="3200400" cy="32868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b="1">
                <a:solidFill>
                  <a:schemeClr val="tx1"/>
                </a:solidFill>
              </a:rPr>
              <a:t>Impact:</a:t>
            </a:r>
          </a:p>
          <a:p>
            <a:endParaRPr lang="en-GB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Accidental spills, leaks, or drift during pesticide, herbicide, or fertilizer application can result in unwanted chemical exposure to the ecosystem and impact crop yield.</a:t>
            </a:r>
            <a:r>
              <a:rPr lang="en-GB" sz="1600">
                <a:solidFill>
                  <a:schemeClr val="tx1"/>
                </a:solidFill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  <a:ea typeface="+mn-lt"/>
                <a:cs typeface="+mn-lt"/>
              </a:rPr>
              <a:t>Movement patterns of robots could alter natural drainage patterns leading to waterlogging or erosion.</a:t>
            </a:r>
            <a:endParaRPr lang="en-AE" sz="1600">
              <a:solidFill>
                <a:schemeClr val="tx1"/>
              </a:solidFill>
              <a:ea typeface="+mn-lt"/>
              <a:cs typeface="+mn-lt"/>
            </a:endParaRPr>
          </a:p>
        </p:txBody>
      </p:sp>
      <p:pic>
        <p:nvPicPr>
          <p:cNvPr id="3" name="Picture 2" descr="A field of corn growing&#10;&#10;Description automatically generated">
            <a:extLst>
              <a:ext uri="{FF2B5EF4-FFF2-40B4-BE49-F238E27FC236}">
                <a16:creationId xmlns:a16="http://schemas.microsoft.com/office/drawing/2014/main" id="{A63504CF-96B0-BD1C-1843-13F82C9ACA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297" t="2941" r="4306" b="10131"/>
          <a:stretch/>
        </p:blipFill>
        <p:spPr>
          <a:xfrm>
            <a:off x="8514026" y="1282889"/>
            <a:ext cx="2078202" cy="209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6911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9BDDA34-19E0-B666-A9A1-7AF62295E63A}"/>
              </a:ext>
            </a:extLst>
          </p:cNvPr>
          <p:cNvSpPr/>
          <p:nvPr/>
        </p:nvSpPr>
        <p:spPr>
          <a:xfrm>
            <a:off x="8020335" y="1166883"/>
            <a:ext cx="3200400" cy="52816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en-GB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endParaRPr lang="en-AE">
              <a:solidFill>
                <a:schemeClr val="tx1"/>
              </a:solidFill>
            </a:endParaRPr>
          </a:p>
          <a:p>
            <a:r>
              <a:rPr lang="en-AE" b="1">
                <a:solidFill>
                  <a:schemeClr val="tx1"/>
                </a:solidFill>
              </a:rPr>
              <a:t>Solution:</a:t>
            </a:r>
          </a:p>
          <a:p>
            <a:endParaRPr lang="en-AE" sz="1600">
              <a:solidFill>
                <a:schemeClr val="tx1"/>
              </a:solidFill>
            </a:endParaRPr>
          </a:p>
          <a:p>
            <a:r>
              <a:rPr lang="en-AE" sz="1600">
                <a:solidFill>
                  <a:schemeClr val="tx1"/>
                </a:solidFill>
              </a:rPr>
              <a:t>The data privacy and security concern can be addressed by implementing controls such as:</a:t>
            </a:r>
          </a:p>
          <a:p>
            <a:r>
              <a:rPr lang="en-AE" sz="1600">
                <a:solidFill>
                  <a:schemeClr val="tx1"/>
                </a:solidFill>
              </a:rPr>
              <a:t>Encryption, Access control, Data Governance policies, Blockchain technology, Data Anonymiz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7D9B3-B64F-656A-0D99-161A6C0F5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61" y="249650"/>
            <a:ext cx="9953308" cy="555568"/>
          </a:xfrm>
        </p:spPr>
        <p:txBody>
          <a:bodyPr anchor="t"/>
          <a:lstStyle/>
          <a:p>
            <a:r>
              <a:rPr lang="en-US"/>
              <a:t>Data privacy and security</a:t>
            </a:r>
          </a:p>
        </p:txBody>
      </p:sp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AA0ACADD-CC4E-851C-DA07-C22DB97FA2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713DE9-3B12-AA28-9750-34FDEB7364FC}"/>
              </a:ext>
            </a:extLst>
          </p:cNvPr>
          <p:cNvSpPr/>
          <p:nvPr/>
        </p:nvSpPr>
        <p:spPr>
          <a:xfrm>
            <a:off x="764275" y="1166884"/>
            <a:ext cx="3200400" cy="52816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b="1">
                <a:solidFill>
                  <a:schemeClr val="tx1"/>
                </a:solidFill>
              </a:rPr>
              <a:t>Concern:</a:t>
            </a:r>
          </a:p>
          <a:p>
            <a:endParaRPr lang="en-GB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Swarm robotics in agriculture relies processing vast amounts of data to optimize farming practice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Data includes details about crop health, soil conditions, water usage, location, timings of farming activitie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Data increases efficiency and productivity, however, it also raises significant concerns regarding privacy and security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Sensitive information could be accessed by unauthorized parties, leading to potential misuse.</a:t>
            </a:r>
            <a:endParaRPr lang="en-AE" sz="16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593D3D-399D-F9FC-D285-C2A27932D322}"/>
              </a:ext>
            </a:extLst>
          </p:cNvPr>
          <p:cNvSpPr/>
          <p:nvPr/>
        </p:nvSpPr>
        <p:spPr>
          <a:xfrm>
            <a:off x="4312693" y="1166883"/>
            <a:ext cx="3200400" cy="18970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b="1">
                <a:solidFill>
                  <a:schemeClr val="tx1"/>
                </a:solidFill>
              </a:rPr>
              <a:t>Risk:</a:t>
            </a:r>
          </a:p>
          <a:p>
            <a:endParaRPr lang="en-GB">
              <a:solidFill>
                <a:schemeClr val="tx1"/>
              </a:solidFill>
            </a:endParaRPr>
          </a:p>
          <a:p>
            <a:r>
              <a:rPr lang="en-GB" sz="1600">
                <a:solidFill>
                  <a:schemeClr val="tx1"/>
                </a:solidFill>
              </a:rPr>
              <a:t>Risk associated with data privacy and security include cyber-attack and data breach leading to exposure of confidential information</a:t>
            </a:r>
            <a:endParaRPr lang="en-AE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AE4136-72B9-5170-6CB7-C84B8D205083}"/>
              </a:ext>
            </a:extLst>
          </p:cNvPr>
          <p:cNvSpPr/>
          <p:nvPr/>
        </p:nvSpPr>
        <p:spPr>
          <a:xfrm>
            <a:off x="4312693" y="3161731"/>
            <a:ext cx="3200400" cy="32868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GB" b="1">
                <a:solidFill>
                  <a:schemeClr val="tx1"/>
                </a:solidFill>
              </a:rPr>
              <a:t>Impact:</a:t>
            </a:r>
          </a:p>
          <a:p>
            <a:endParaRPr lang="en-GB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Loss of competitive advantage for farmers if proprietary farming techniques or data are leaked. Surveillance and the unauthorized tracking of activities within private propertie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>
                <a:solidFill>
                  <a:schemeClr val="tx1"/>
                </a:solidFill>
              </a:rPr>
              <a:t>Data breaches could hinder adoption and innovation in the sector</a:t>
            </a:r>
            <a:r>
              <a:rPr lang="en-GB">
                <a:solidFill>
                  <a:schemeClr val="tx1"/>
                </a:solidFill>
              </a:rPr>
              <a:t>.</a:t>
            </a:r>
            <a:endParaRPr lang="en-AE">
              <a:solidFill>
                <a:schemeClr val="tx1"/>
              </a:solidFill>
            </a:endParaRPr>
          </a:p>
        </p:txBody>
      </p:sp>
      <p:pic>
        <p:nvPicPr>
          <p:cNvPr id="4098" name="Picture 2" descr="data privacy and security">
            <a:extLst>
              <a:ext uri="{FF2B5EF4-FFF2-40B4-BE49-F238E27FC236}">
                <a16:creationId xmlns:a16="http://schemas.microsoft.com/office/drawing/2014/main" id="{7897E8D6-38B5-E8E4-6FCF-F3076A50F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4026" y="1282889"/>
            <a:ext cx="2081284" cy="208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819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Custom 14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9E6D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6">
      <a:majorFont>
        <a:latin typeface="Tenorite"/>
        <a:ea typeface=""/>
        <a:cs typeface=""/>
      </a:majorFont>
      <a:minorFont>
        <a:latin typeface="Tenori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ustom" id="{F85C13B5-8B75-4CB8-BA5E-9CAC0747196D}" vid="{617487EE-AB70-4C55-8A81-E6744CC4A2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CABF691C-888B-4061-8A6F-D5CE84A025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DE3176-A15D-46A3-BDDB-64A0D7363224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9168DCE-134F-4610-A6AA-88CEBE8D71D2}">
  <ds:schemaRefs>
    <ds:schemaRef ds:uri="230e9df3-be65-4c73-a93b-d1236ebd677e"/>
    <ds:schemaRef ds:uri="71af3243-3dd4-4a8d-8c0d-dd76da1f02a5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28037E75-C450-47CC-8D6B-1D679CCBF4F7}tf67328976_win32</Template>
  <Application>Microsoft Office PowerPoint</Application>
  <PresentationFormat>Widescreen</PresentationFormat>
  <Slides>15</Slides>
  <Notes>1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Custom</vt:lpstr>
      <vt:lpstr>PSET7: Ethics Video Presentation  Team:  Bethlehem B. Bethun B. Tousif S. </vt:lpstr>
      <vt:lpstr>AGENDA</vt:lpstr>
      <vt:lpstr>Group and Project Introduction</vt:lpstr>
      <vt:lpstr>Project Name: Swarm Robotics ABM Simulation in Agriculture</vt:lpstr>
      <vt:lpstr>Executive SUmmary</vt:lpstr>
      <vt:lpstr>Summary of Ethical Concerns</vt:lpstr>
      <vt:lpstr>Describe each Ethical Concern and Solution</vt:lpstr>
      <vt:lpstr>Environmental Impact</vt:lpstr>
      <vt:lpstr>Data privacy and security</vt:lpstr>
      <vt:lpstr>JOB DISPLACEMENT</vt:lpstr>
      <vt:lpstr>Conclusion</vt:lpstr>
      <vt:lpstr>Conclusion</vt:lpstr>
      <vt:lpstr>REferences</vt:lpstr>
      <vt:lpstr>Reference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SET7: Ethics Video Presentation  Team:  Bethlehem B. Bethun B. Tousif S. </dc:title>
  <dc:creator>Tousif Ahmed Syed</dc:creator>
  <cp:revision>1</cp:revision>
  <dcterms:created xsi:type="dcterms:W3CDTF">2024-03-21T11:08:51Z</dcterms:created>
  <dcterms:modified xsi:type="dcterms:W3CDTF">2024-03-24T13:4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</Properties>
</file>